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5" r:id="rId4"/>
  </p:sldMasterIdLst>
  <p:notesMasterIdLst>
    <p:notesMasterId r:id="rId20"/>
  </p:notesMasterIdLst>
  <p:sldIdLst>
    <p:sldId id="256" r:id="rId5"/>
    <p:sldId id="257" r:id="rId6"/>
    <p:sldId id="276" r:id="rId7"/>
    <p:sldId id="259" r:id="rId8"/>
    <p:sldId id="270" r:id="rId9"/>
    <p:sldId id="279" r:id="rId10"/>
    <p:sldId id="271" r:id="rId11"/>
    <p:sldId id="272" r:id="rId12"/>
    <p:sldId id="277" r:id="rId13"/>
    <p:sldId id="278" r:id="rId14"/>
    <p:sldId id="274" r:id="rId15"/>
    <p:sldId id="258" r:id="rId16"/>
    <p:sldId id="273" r:id="rId17"/>
    <p:sldId id="275" r:id="rId18"/>
    <p:sldId id="264" r:id="rId19"/>
  </p:sldIdLst>
  <p:sldSz cx="12192000" cy="6858000"/>
  <p:notesSz cx="7104063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6CDDC2-EE9E-1413-5000-75557A6C609B}" name="Peregoudov Artem" initials="PA" userId="S::aperegoudov@vaudoise.ch::807f42c5-371f-4234-a74a-31c242845fd3" providerId="AD"/>
  <p188:author id="{80B658EC-8839-58EA-D16F-991E93AE9CCF}" name="Page Fabrice" initials="PF" userId="S::fpage@vaudoise.ch::418d064d-7c8f-4417-baa6-f2ae5f187c0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7F3D"/>
    <a:srgbClr val="007531"/>
    <a:srgbClr val="71B28C"/>
    <a:srgbClr val="00B050"/>
    <a:srgbClr val="FF9999"/>
    <a:srgbClr val="DFD7EA"/>
    <a:srgbClr val="9FB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917C0B-6E3E-1FDF-39D7-7B628BB1D839}" v="8" dt="2022-10-27T06:01:00.029"/>
    <p1510:client id="{18BE3CE8-9E31-A8EE-9D36-549A38EF76BC}" v="59" dt="2022-10-27T10:54:54.644"/>
    <p1510:client id="{28527444-B178-3A38-A214-0856481EE0FA}" v="130" dt="2022-10-26T16:11:21.846"/>
    <p1510:client id="{4949C8AB-B13B-F389-34CD-A8818E8A7C7B}" v="766" dt="2022-10-27T08:41:23.450"/>
    <p1510:client id="{4AB9E985-A19A-318B-67E7-1CFE09B2DD77}" v="2058" dt="2022-10-26T16:05:56.402"/>
    <p1510:client id="{997D9C11-9206-432E-A08B-12A3EB767B41}" v="1328" dt="2022-10-27T07:06:54.771"/>
    <p1510:client id="{D98BCAE2-813D-75EA-C119-DCC5ABE17C3C}" v="233" dt="2022-10-26T18:06:37.216"/>
    <p1510:client id="{E453C2CF-D29C-4FA7-A2AD-05CEBAADA0DA}" v="6669" dt="2022-10-27T11:55:36.6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123" autoAdjust="0"/>
  </p:normalViewPr>
  <p:slideViewPr>
    <p:cSldViewPr snapToGrid="0">
      <p:cViewPr varScale="1">
        <p:scale>
          <a:sx n="104" d="100"/>
          <a:sy n="104" d="100"/>
        </p:scale>
        <p:origin x="114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6E35047E-C03F-4D67-AA13-B12B860FB0A3}" type="datetimeFigureOut">
              <a:rPr lang="fr-CH" smtClean="0"/>
              <a:t>03.04.2023</a:t>
            </a:fld>
            <a:endParaRPr lang="fr-CH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fr-CH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fr-CH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C6FFF9B-6C04-4882-A6D3-D98D68828AD9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090526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FFF9B-6C04-4882-A6D3-D98D68828AD9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340180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FFF9B-6C04-4882-A6D3-D98D68828AD9}" type="slidenum">
              <a:rPr lang="fr-CH" smtClean="0"/>
              <a:t>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193856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Visuel A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4685E3A7-EC1F-4FFF-AACF-03ECBD2B4F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6000">
                <a:srgbClr val="007531">
                  <a:alpha val="0"/>
                </a:srgbClr>
              </a:gs>
              <a:gs pos="65000">
                <a:srgbClr val="007531">
                  <a:alpha val="81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Cadre 45">
            <a:extLst>
              <a:ext uri="{FF2B5EF4-FFF2-40B4-BE49-F238E27FC236}">
                <a16:creationId xmlns:a16="http://schemas.microsoft.com/office/drawing/2014/main" id="{17C55E6C-E57F-4377-A05B-DF446746152E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866FA65A-92B8-432E-9E00-DC66520185E9}"/>
              </a:ext>
            </a:extLst>
          </p:cNvPr>
          <p:cNvGrpSpPr/>
          <p:nvPr userDrawn="1"/>
        </p:nvGrpSpPr>
        <p:grpSpPr>
          <a:xfrm>
            <a:off x="1007110" y="1157423"/>
            <a:ext cx="3771552" cy="970982"/>
            <a:chOff x="1291590" y="1157423"/>
            <a:chExt cx="3771552" cy="970982"/>
          </a:xfrm>
        </p:grpSpPr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3206FA29-FE3B-4174-B2F5-8BF6C46F0CAA}"/>
                </a:ext>
              </a:extLst>
            </p:cNvPr>
            <p:cNvSpPr/>
            <p:nvPr/>
          </p:nvSpPr>
          <p:spPr>
            <a:xfrm>
              <a:off x="1291590" y="1157423"/>
              <a:ext cx="830865" cy="970982"/>
            </a:xfrm>
            <a:custGeom>
              <a:avLst/>
              <a:gdLst>
                <a:gd name="connsiteX0" fmla="*/ 824455 w 830865"/>
                <a:gd name="connsiteY0" fmla="*/ 115635 h 970982"/>
                <a:gd name="connsiteX1" fmla="*/ 797118 w 830865"/>
                <a:gd name="connsiteY1" fmla="*/ 30602 h 970982"/>
                <a:gd name="connsiteX2" fmla="*/ 746557 w 830865"/>
                <a:gd name="connsiteY2" fmla="*/ 0 h 970982"/>
                <a:gd name="connsiteX3" fmla="*/ 644528 w 830865"/>
                <a:gd name="connsiteY3" fmla="*/ 74026 h 970982"/>
                <a:gd name="connsiteX4" fmla="*/ 432004 w 830865"/>
                <a:gd name="connsiteY4" fmla="*/ 499250 h 970982"/>
                <a:gd name="connsiteX5" fmla="*/ 228612 w 830865"/>
                <a:gd name="connsiteY5" fmla="*/ 373273 h 970982"/>
                <a:gd name="connsiteX6" fmla="*/ 147146 w 830865"/>
                <a:gd name="connsiteY6" fmla="*/ 389058 h 970982"/>
                <a:gd name="connsiteX7" fmla="*/ 0 w 830865"/>
                <a:gd name="connsiteY7" fmla="*/ 601640 h 970982"/>
                <a:gd name="connsiteX8" fmla="*/ 194502 w 830865"/>
                <a:gd name="connsiteY8" fmla="*/ 816883 h 970982"/>
                <a:gd name="connsiteX9" fmla="*/ 197949 w 830865"/>
                <a:gd name="connsiteY9" fmla="*/ 816944 h 970982"/>
                <a:gd name="connsiteX10" fmla="*/ 283406 w 830865"/>
                <a:gd name="connsiteY10" fmla="*/ 795171 h 970982"/>
                <a:gd name="connsiteX11" fmla="*/ 338563 w 830865"/>
                <a:gd name="connsiteY11" fmla="*/ 749329 h 970982"/>
                <a:gd name="connsiteX12" fmla="*/ 375456 w 830865"/>
                <a:gd name="connsiteY12" fmla="*/ 693144 h 970982"/>
                <a:gd name="connsiteX13" fmla="*/ 492907 w 830865"/>
                <a:gd name="connsiteY13" fmla="*/ 915463 h 970982"/>
                <a:gd name="connsiteX14" fmla="*/ 582598 w 830865"/>
                <a:gd name="connsiteY14" fmla="*/ 970983 h 970982"/>
                <a:gd name="connsiteX15" fmla="*/ 582658 w 830865"/>
                <a:gd name="connsiteY15" fmla="*/ 970983 h 970982"/>
                <a:gd name="connsiteX16" fmla="*/ 661886 w 830865"/>
                <a:gd name="connsiteY16" fmla="*/ 917096 h 970982"/>
                <a:gd name="connsiteX17" fmla="*/ 799779 w 830865"/>
                <a:gd name="connsiteY17" fmla="*/ 531243 h 970982"/>
                <a:gd name="connsiteX18" fmla="*/ 830865 w 830865"/>
                <a:gd name="connsiteY18" fmla="*/ 227823 h 970982"/>
                <a:gd name="connsiteX19" fmla="*/ 824455 w 830865"/>
                <a:gd name="connsiteY19" fmla="*/ 115635 h 970982"/>
                <a:gd name="connsiteX20" fmla="*/ 247905 w 830865"/>
                <a:gd name="connsiteY20" fmla="*/ 773339 h 970982"/>
                <a:gd name="connsiteX21" fmla="*/ 226979 w 830865"/>
                <a:gd name="connsiteY21" fmla="*/ 775516 h 970982"/>
                <a:gd name="connsiteX22" fmla="*/ 100517 w 830865"/>
                <a:gd name="connsiteY22" fmla="*/ 667925 h 970982"/>
                <a:gd name="connsiteX23" fmla="*/ 98037 w 830865"/>
                <a:gd name="connsiteY23" fmla="*/ 640407 h 970982"/>
                <a:gd name="connsiteX24" fmla="*/ 187063 w 830865"/>
                <a:gd name="connsiteY24" fmla="*/ 514007 h 970982"/>
                <a:gd name="connsiteX25" fmla="*/ 217000 w 830865"/>
                <a:gd name="connsiteY25" fmla="*/ 509229 h 970982"/>
                <a:gd name="connsiteX26" fmla="*/ 359671 w 830865"/>
                <a:gd name="connsiteY26" fmla="*/ 654982 h 970982"/>
                <a:gd name="connsiteX27" fmla="*/ 247905 w 830865"/>
                <a:gd name="connsiteY27" fmla="*/ 773339 h 970982"/>
                <a:gd name="connsiteX28" fmla="*/ 727022 w 830865"/>
                <a:gd name="connsiteY28" fmla="*/ 620268 h 970982"/>
                <a:gd name="connsiteX29" fmla="*/ 622574 w 830865"/>
                <a:gd name="connsiteY29" fmla="*/ 688366 h 970982"/>
                <a:gd name="connsiteX30" fmla="*/ 615982 w 830865"/>
                <a:gd name="connsiteY30" fmla="*/ 688064 h 970982"/>
                <a:gd name="connsiteX31" fmla="*/ 451841 w 830865"/>
                <a:gd name="connsiteY31" fmla="*/ 533541 h 970982"/>
                <a:gd name="connsiteX32" fmla="*/ 537359 w 830865"/>
                <a:gd name="connsiteY32" fmla="*/ 364444 h 970982"/>
                <a:gd name="connsiteX33" fmla="*/ 607636 w 830865"/>
                <a:gd name="connsiteY33" fmla="*/ 287454 h 970982"/>
                <a:gd name="connsiteX34" fmla="*/ 665091 w 830865"/>
                <a:gd name="connsiteY34" fmla="*/ 261811 h 970982"/>
                <a:gd name="connsiteX35" fmla="*/ 696601 w 830865"/>
                <a:gd name="connsiteY35" fmla="*/ 262658 h 970982"/>
                <a:gd name="connsiteX36" fmla="*/ 753815 w 830865"/>
                <a:gd name="connsiteY36" fmla="*/ 305537 h 970982"/>
                <a:gd name="connsiteX37" fmla="*/ 780849 w 830865"/>
                <a:gd name="connsiteY37" fmla="*/ 404299 h 970982"/>
                <a:gd name="connsiteX38" fmla="*/ 727022 w 830865"/>
                <a:gd name="connsiteY38" fmla="*/ 620268 h 97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30865" h="970982">
                  <a:moveTo>
                    <a:pt x="824455" y="115635"/>
                  </a:moveTo>
                  <a:cubicBezTo>
                    <a:pt x="819616" y="78924"/>
                    <a:pt x="810302" y="50318"/>
                    <a:pt x="797118" y="30602"/>
                  </a:cubicBezTo>
                  <a:cubicBezTo>
                    <a:pt x="783994" y="10886"/>
                    <a:pt x="768451" y="0"/>
                    <a:pt x="746557" y="0"/>
                  </a:cubicBezTo>
                  <a:cubicBezTo>
                    <a:pt x="716136" y="0"/>
                    <a:pt x="683114" y="21047"/>
                    <a:pt x="644528" y="74026"/>
                  </a:cubicBezTo>
                  <a:cubicBezTo>
                    <a:pt x="582779" y="158938"/>
                    <a:pt x="510446" y="313158"/>
                    <a:pt x="432004" y="499250"/>
                  </a:cubicBezTo>
                  <a:cubicBezTo>
                    <a:pt x="400434" y="448146"/>
                    <a:pt x="331790" y="373334"/>
                    <a:pt x="228612" y="373273"/>
                  </a:cubicBezTo>
                  <a:cubicBezTo>
                    <a:pt x="203150" y="373273"/>
                    <a:pt x="175934" y="378051"/>
                    <a:pt x="147146" y="389058"/>
                  </a:cubicBezTo>
                  <a:cubicBezTo>
                    <a:pt x="36892" y="431151"/>
                    <a:pt x="-60" y="533058"/>
                    <a:pt x="0" y="601640"/>
                  </a:cubicBezTo>
                  <a:cubicBezTo>
                    <a:pt x="0" y="718243"/>
                    <a:pt x="88300" y="814767"/>
                    <a:pt x="194502" y="816883"/>
                  </a:cubicBezTo>
                  <a:cubicBezTo>
                    <a:pt x="195651" y="816944"/>
                    <a:pt x="196800" y="816944"/>
                    <a:pt x="197949" y="816944"/>
                  </a:cubicBezTo>
                  <a:cubicBezTo>
                    <a:pt x="226677" y="816944"/>
                    <a:pt x="258428" y="808719"/>
                    <a:pt x="283406" y="795171"/>
                  </a:cubicBezTo>
                  <a:cubicBezTo>
                    <a:pt x="305481" y="783197"/>
                    <a:pt x="324109" y="766988"/>
                    <a:pt x="338563" y="749329"/>
                  </a:cubicBezTo>
                  <a:cubicBezTo>
                    <a:pt x="355740" y="728403"/>
                    <a:pt x="367654" y="708022"/>
                    <a:pt x="375456" y="693144"/>
                  </a:cubicBezTo>
                  <a:cubicBezTo>
                    <a:pt x="418820" y="797107"/>
                    <a:pt x="461155" y="875487"/>
                    <a:pt x="492907" y="915463"/>
                  </a:cubicBezTo>
                  <a:cubicBezTo>
                    <a:pt x="521574" y="951327"/>
                    <a:pt x="552237" y="970983"/>
                    <a:pt x="582598" y="970983"/>
                  </a:cubicBezTo>
                  <a:lnTo>
                    <a:pt x="582658" y="970983"/>
                  </a:lnTo>
                  <a:cubicBezTo>
                    <a:pt x="611386" y="970983"/>
                    <a:pt x="638722" y="953081"/>
                    <a:pt x="661886" y="917096"/>
                  </a:cubicBezTo>
                  <a:cubicBezTo>
                    <a:pt x="724845" y="819665"/>
                    <a:pt x="768330" y="672521"/>
                    <a:pt x="799779" y="531243"/>
                  </a:cubicBezTo>
                  <a:cubicBezTo>
                    <a:pt x="818346" y="447662"/>
                    <a:pt x="830865" y="330515"/>
                    <a:pt x="830865" y="227823"/>
                  </a:cubicBezTo>
                  <a:cubicBezTo>
                    <a:pt x="830805" y="187181"/>
                    <a:pt x="828809" y="148777"/>
                    <a:pt x="824455" y="115635"/>
                  </a:cubicBezTo>
                  <a:close/>
                  <a:moveTo>
                    <a:pt x="247905" y="773339"/>
                  </a:moveTo>
                  <a:cubicBezTo>
                    <a:pt x="241313" y="774730"/>
                    <a:pt x="234297" y="775516"/>
                    <a:pt x="226979" y="775516"/>
                  </a:cubicBezTo>
                  <a:cubicBezTo>
                    <a:pt x="176539" y="775455"/>
                    <a:pt x="113883" y="740438"/>
                    <a:pt x="100517" y="667925"/>
                  </a:cubicBezTo>
                  <a:cubicBezTo>
                    <a:pt x="98884" y="658974"/>
                    <a:pt x="98037" y="649721"/>
                    <a:pt x="98037" y="640407"/>
                  </a:cubicBezTo>
                  <a:cubicBezTo>
                    <a:pt x="98098" y="588093"/>
                    <a:pt x="124648" y="533965"/>
                    <a:pt x="187063" y="514007"/>
                  </a:cubicBezTo>
                  <a:cubicBezTo>
                    <a:pt x="197284" y="510741"/>
                    <a:pt x="207263" y="509229"/>
                    <a:pt x="217000" y="509229"/>
                  </a:cubicBezTo>
                  <a:cubicBezTo>
                    <a:pt x="274213" y="509229"/>
                    <a:pt x="327072" y="565414"/>
                    <a:pt x="359671" y="654982"/>
                  </a:cubicBezTo>
                  <a:cubicBezTo>
                    <a:pt x="343583" y="693689"/>
                    <a:pt x="305058" y="761183"/>
                    <a:pt x="247905" y="773339"/>
                  </a:cubicBezTo>
                  <a:close/>
                  <a:moveTo>
                    <a:pt x="727022" y="620268"/>
                  </a:moveTo>
                  <a:cubicBezTo>
                    <a:pt x="698537" y="663207"/>
                    <a:pt x="656624" y="688366"/>
                    <a:pt x="622574" y="688366"/>
                  </a:cubicBezTo>
                  <a:cubicBezTo>
                    <a:pt x="620397" y="688366"/>
                    <a:pt x="618220" y="688306"/>
                    <a:pt x="615982" y="688064"/>
                  </a:cubicBezTo>
                  <a:cubicBezTo>
                    <a:pt x="534214" y="680807"/>
                    <a:pt x="472949" y="571099"/>
                    <a:pt x="451841" y="533541"/>
                  </a:cubicBezTo>
                  <a:cubicBezTo>
                    <a:pt x="482867" y="456008"/>
                    <a:pt x="508268" y="406899"/>
                    <a:pt x="537359" y="364444"/>
                  </a:cubicBezTo>
                  <a:cubicBezTo>
                    <a:pt x="562035" y="328398"/>
                    <a:pt x="586166" y="303421"/>
                    <a:pt x="607636" y="287454"/>
                  </a:cubicBezTo>
                  <a:cubicBezTo>
                    <a:pt x="628380" y="272032"/>
                    <a:pt x="647492" y="264231"/>
                    <a:pt x="665091" y="261811"/>
                  </a:cubicBezTo>
                  <a:cubicBezTo>
                    <a:pt x="676522" y="260179"/>
                    <a:pt x="687106" y="260541"/>
                    <a:pt x="696601" y="262658"/>
                  </a:cubicBezTo>
                  <a:cubicBezTo>
                    <a:pt x="721277" y="268222"/>
                    <a:pt x="740993" y="285761"/>
                    <a:pt x="753815" y="305537"/>
                  </a:cubicBezTo>
                  <a:cubicBezTo>
                    <a:pt x="771354" y="332571"/>
                    <a:pt x="780849" y="368737"/>
                    <a:pt x="780849" y="404299"/>
                  </a:cubicBezTo>
                  <a:cubicBezTo>
                    <a:pt x="780909" y="501064"/>
                    <a:pt x="758109" y="573457"/>
                    <a:pt x="727022" y="62026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832B58-83CC-43B4-8EAB-C92CB5350BD8}"/>
                </a:ext>
              </a:extLst>
            </p:cNvPr>
            <p:cNvSpPr/>
            <p:nvPr/>
          </p:nvSpPr>
          <p:spPr>
            <a:xfrm>
              <a:off x="2631027" y="1587848"/>
              <a:ext cx="339168" cy="354041"/>
            </a:xfrm>
            <a:custGeom>
              <a:avLst/>
              <a:gdLst>
                <a:gd name="connsiteX0" fmla="*/ 284858 w 339168"/>
                <a:gd name="connsiteY0" fmla="*/ 302272 h 354041"/>
                <a:gd name="connsiteX1" fmla="*/ 280503 w 339168"/>
                <a:gd name="connsiteY1" fmla="*/ 177383 h 354041"/>
                <a:gd name="connsiteX2" fmla="*/ 280503 w 339168"/>
                <a:gd name="connsiteY2" fmla="*/ 96766 h 354041"/>
                <a:gd name="connsiteX3" fmla="*/ 157428 w 339168"/>
                <a:gd name="connsiteY3" fmla="*/ 0 h 354041"/>
                <a:gd name="connsiteX4" fmla="*/ 24434 w 339168"/>
                <a:gd name="connsiteY4" fmla="*/ 46206 h 354041"/>
                <a:gd name="connsiteX5" fmla="*/ 33808 w 339168"/>
                <a:gd name="connsiteY5" fmla="*/ 70578 h 354041"/>
                <a:gd name="connsiteX6" fmla="*/ 119386 w 339168"/>
                <a:gd name="connsiteY6" fmla="*/ 57515 h 354041"/>
                <a:gd name="connsiteX7" fmla="*/ 196195 w 339168"/>
                <a:gd name="connsiteY7" fmla="*/ 116119 h 354041"/>
                <a:gd name="connsiteX8" fmla="*/ 196195 w 339168"/>
                <a:gd name="connsiteY8" fmla="*/ 156942 h 354041"/>
                <a:gd name="connsiteX9" fmla="*/ 141159 w 339168"/>
                <a:gd name="connsiteY9" fmla="*/ 163171 h 354041"/>
                <a:gd name="connsiteX10" fmla="*/ 0 w 339168"/>
                <a:gd name="connsiteY10" fmla="*/ 274572 h 354041"/>
                <a:gd name="connsiteX11" fmla="*/ 84973 w 339168"/>
                <a:gd name="connsiteY11" fmla="*/ 354041 h 354041"/>
                <a:gd name="connsiteX12" fmla="*/ 197344 w 339168"/>
                <a:gd name="connsiteY12" fmla="*/ 295317 h 354041"/>
                <a:gd name="connsiteX13" fmla="*/ 257400 w 339168"/>
                <a:gd name="connsiteY13" fmla="*/ 353436 h 354041"/>
                <a:gd name="connsiteX14" fmla="*/ 339168 w 339168"/>
                <a:gd name="connsiteY14" fmla="*/ 319085 h 354041"/>
                <a:gd name="connsiteX15" fmla="*/ 336689 w 339168"/>
                <a:gd name="connsiteY15" fmla="*/ 302211 h 354041"/>
                <a:gd name="connsiteX16" fmla="*/ 284858 w 339168"/>
                <a:gd name="connsiteY16" fmla="*/ 302211 h 354041"/>
                <a:gd name="connsiteX17" fmla="*/ 196195 w 339168"/>
                <a:gd name="connsiteY17" fmla="*/ 276689 h 354041"/>
                <a:gd name="connsiteX18" fmla="*/ 128095 w 339168"/>
                <a:gd name="connsiteY18" fmla="*/ 294167 h 354041"/>
                <a:gd name="connsiteX19" fmla="*/ 85639 w 339168"/>
                <a:gd name="connsiteY19" fmla="*/ 250260 h 354041"/>
                <a:gd name="connsiteX20" fmla="*/ 157428 w 339168"/>
                <a:gd name="connsiteY20" fmla="*/ 191959 h 354041"/>
                <a:gd name="connsiteX21" fmla="*/ 196195 w 339168"/>
                <a:gd name="connsiteY21" fmla="*/ 185064 h 354041"/>
                <a:gd name="connsiteX22" fmla="*/ 196195 w 339168"/>
                <a:gd name="connsiteY22" fmla="*/ 276689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9168" h="354041">
                  <a:moveTo>
                    <a:pt x="284858" y="302272"/>
                  </a:moveTo>
                  <a:lnTo>
                    <a:pt x="280503" y="177383"/>
                  </a:lnTo>
                  <a:lnTo>
                    <a:pt x="280503" y="96766"/>
                  </a:lnTo>
                  <a:cubicBezTo>
                    <a:pt x="280503" y="11249"/>
                    <a:pt x="208654" y="0"/>
                    <a:pt x="157428" y="0"/>
                  </a:cubicBezTo>
                  <a:cubicBezTo>
                    <a:pt x="103722" y="0"/>
                    <a:pt x="49956" y="28123"/>
                    <a:pt x="24434" y="46206"/>
                  </a:cubicBezTo>
                  <a:lnTo>
                    <a:pt x="33808" y="70578"/>
                  </a:lnTo>
                  <a:cubicBezTo>
                    <a:pt x="66285" y="61809"/>
                    <a:pt x="96888" y="57515"/>
                    <a:pt x="119386" y="57515"/>
                  </a:cubicBezTo>
                  <a:cubicBezTo>
                    <a:pt x="170612" y="57515"/>
                    <a:pt x="196195" y="73663"/>
                    <a:pt x="196195" y="116119"/>
                  </a:cubicBezTo>
                  <a:lnTo>
                    <a:pt x="196195" y="156942"/>
                  </a:lnTo>
                  <a:lnTo>
                    <a:pt x="141159" y="163171"/>
                  </a:lnTo>
                  <a:cubicBezTo>
                    <a:pt x="73785" y="171275"/>
                    <a:pt x="0" y="192443"/>
                    <a:pt x="0" y="274572"/>
                  </a:cubicBezTo>
                  <a:cubicBezTo>
                    <a:pt x="0" y="318298"/>
                    <a:pt x="32538" y="354041"/>
                    <a:pt x="84973" y="354041"/>
                  </a:cubicBezTo>
                  <a:cubicBezTo>
                    <a:pt x="139284" y="354041"/>
                    <a:pt x="174906" y="322834"/>
                    <a:pt x="197344" y="295317"/>
                  </a:cubicBezTo>
                  <a:cubicBezTo>
                    <a:pt x="199824" y="331543"/>
                    <a:pt x="211738" y="353436"/>
                    <a:pt x="257400" y="353436"/>
                  </a:cubicBezTo>
                  <a:cubicBezTo>
                    <a:pt x="281713" y="353436"/>
                    <a:pt x="319815" y="337168"/>
                    <a:pt x="339168" y="319085"/>
                  </a:cubicBezTo>
                  <a:lnTo>
                    <a:pt x="336689" y="302211"/>
                  </a:lnTo>
                  <a:lnTo>
                    <a:pt x="284858" y="302211"/>
                  </a:lnTo>
                  <a:close/>
                  <a:moveTo>
                    <a:pt x="196195" y="276689"/>
                  </a:moveTo>
                  <a:cubicBezTo>
                    <a:pt x="176176" y="286063"/>
                    <a:pt x="154343" y="294167"/>
                    <a:pt x="128095" y="294167"/>
                  </a:cubicBezTo>
                  <a:cubicBezTo>
                    <a:pt x="101847" y="294167"/>
                    <a:pt x="85639" y="276750"/>
                    <a:pt x="85639" y="250260"/>
                  </a:cubicBezTo>
                  <a:cubicBezTo>
                    <a:pt x="85639" y="216574"/>
                    <a:pt x="118056" y="198128"/>
                    <a:pt x="157428" y="191959"/>
                  </a:cubicBezTo>
                  <a:lnTo>
                    <a:pt x="196195" y="185064"/>
                  </a:lnTo>
                  <a:lnTo>
                    <a:pt x="196195" y="276689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D5B789E-70A0-4225-A898-C1AA9A60748B}"/>
                </a:ext>
              </a:extLst>
            </p:cNvPr>
            <p:cNvSpPr/>
            <p:nvPr/>
          </p:nvSpPr>
          <p:spPr>
            <a:xfrm>
              <a:off x="4433371" y="1587304"/>
              <a:ext cx="259577" cy="354766"/>
            </a:xfrm>
            <a:custGeom>
              <a:avLst/>
              <a:gdLst>
                <a:gd name="connsiteX0" fmla="*/ 73301 w 259577"/>
                <a:gd name="connsiteY0" fmla="*/ 75477 h 354766"/>
                <a:gd name="connsiteX1" fmla="*/ 125737 w 259577"/>
                <a:gd name="connsiteY1" fmla="*/ 35501 h 354766"/>
                <a:gd name="connsiteX2" fmla="*/ 209319 w 259577"/>
                <a:gd name="connsiteY2" fmla="*/ 107349 h 354766"/>
                <a:gd name="connsiteX3" fmla="*/ 229943 w 259577"/>
                <a:gd name="connsiteY3" fmla="*/ 109224 h 354766"/>
                <a:gd name="connsiteX4" fmla="*/ 240526 w 259577"/>
                <a:gd name="connsiteY4" fmla="*/ 26187 h 354766"/>
                <a:gd name="connsiteX5" fmla="*/ 132027 w 259577"/>
                <a:gd name="connsiteY5" fmla="*/ 0 h 354766"/>
                <a:gd name="connsiteX6" fmla="*/ 303 w 259577"/>
                <a:gd name="connsiteY6" fmla="*/ 106805 h 354766"/>
                <a:gd name="connsiteX7" fmla="*/ 176539 w 259577"/>
                <a:gd name="connsiteY7" fmla="*/ 273544 h 354766"/>
                <a:gd name="connsiteX8" fmla="*/ 118237 w 259577"/>
                <a:gd name="connsiteY8" fmla="*/ 318540 h 354766"/>
                <a:gd name="connsiteX9" fmla="*/ 29937 w 259577"/>
                <a:gd name="connsiteY9" fmla="*/ 236108 h 354766"/>
                <a:gd name="connsiteX10" fmla="*/ 5625 w 259577"/>
                <a:gd name="connsiteY10" fmla="*/ 235503 h 354766"/>
                <a:gd name="connsiteX11" fmla="*/ 0 w 259577"/>
                <a:gd name="connsiteY11" fmla="*/ 327975 h 354766"/>
                <a:gd name="connsiteX12" fmla="*/ 117028 w 259577"/>
                <a:gd name="connsiteY12" fmla="*/ 354767 h 354766"/>
                <a:gd name="connsiteX13" fmla="*/ 259578 w 259577"/>
                <a:gd name="connsiteY13" fmla="*/ 242458 h 354766"/>
                <a:gd name="connsiteX14" fmla="*/ 73301 w 259577"/>
                <a:gd name="connsiteY14" fmla="*/ 75477 h 35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577" h="354766">
                  <a:moveTo>
                    <a:pt x="73301" y="75477"/>
                  </a:moveTo>
                  <a:cubicBezTo>
                    <a:pt x="73301" y="51165"/>
                    <a:pt x="92050" y="35501"/>
                    <a:pt x="125737" y="35501"/>
                  </a:cubicBezTo>
                  <a:cubicBezTo>
                    <a:pt x="187063" y="35501"/>
                    <a:pt x="200550" y="69248"/>
                    <a:pt x="209319" y="107349"/>
                  </a:cubicBezTo>
                  <a:lnTo>
                    <a:pt x="229943" y="109224"/>
                  </a:lnTo>
                  <a:lnTo>
                    <a:pt x="240526" y="26187"/>
                  </a:lnTo>
                  <a:cubicBezTo>
                    <a:pt x="203755" y="7439"/>
                    <a:pt x="172245" y="0"/>
                    <a:pt x="132027" y="0"/>
                  </a:cubicBezTo>
                  <a:cubicBezTo>
                    <a:pt x="62112" y="0"/>
                    <a:pt x="303" y="41791"/>
                    <a:pt x="303" y="106805"/>
                  </a:cubicBezTo>
                  <a:cubicBezTo>
                    <a:pt x="303" y="223529"/>
                    <a:pt x="176539" y="215424"/>
                    <a:pt x="176539" y="273544"/>
                  </a:cubicBezTo>
                  <a:cubicBezTo>
                    <a:pt x="176539" y="302272"/>
                    <a:pt x="152650" y="318540"/>
                    <a:pt x="118237" y="318540"/>
                  </a:cubicBezTo>
                  <a:cubicBezTo>
                    <a:pt x="69793" y="318540"/>
                    <a:pt x="38042" y="284793"/>
                    <a:pt x="29937" y="236108"/>
                  </a:cubicBezTo>
                  <a:lnTo>
                    <a:pt x="5625" y="235503"/>
                  </a:lnTo>
                  <a:lnTo>
                    <a:pt x="0" y="327975"/>
                  </a:lnTo>
                  <a:cubicBezTo>
                    <a:pt x="37437" y="344788"/>
                    <a:pt x="72999" y="354767"/>
                    <a:pt x="117028" y="354767"/>
                  </a:cubicBezTo>
                  <a:cubicBezTo>
                    <a:pt x="181377" y="354767"/>
                    <a:pt x="259578" y="324286"/>
                    <a:pt x="259578" y="242458"/>
                  </a:cubicBezTo>
                  <a:cubicBezTo>
                    <a:pt x="259578" y="134202"/>
                    <a:pt x="73301" y="142366"/>
                    <a:pt x="73301" y="75477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D775D14-6C6B-4879-AAD7-CA6122AA68EF}"/>
                </a:ext>
              </a:extLst>
            </p:cNvPr>
            <p:cNvSpPr/>
            <p:nvPr/>
          </p:nvSpPr>
          <p:spPr>
            <a:xfrm>
              <a:off x="4235725" y="1413609"/>
              <a:ext cx="100577" cy="100515"/>
            </a:xfrm>
            <a:custGeom>
              <a:avLst/>
              <a:gdLst>
                <a:gd name="connsiteX0" fmla="*/ 50379 w 100577"/>
                <a:gd name="connsiteY0" fmla="*/ 100515 h 100515"/>
                <a:gd name="connsiteX1" fmla="*/ 100577 w 100577"/>
                <a:gd name="connsiteY1" fmla="*/ 50258 h 100515"/>
                <a:gd name="connsiteX2" fmla="*/ 50379 w 100577"/>
                <a:gd name="connsiteY2" fmla="*/ 0 h 100515"/>
                <a:gd name="connsiteX3" fmla="*/ 0 w 100577"/>
                <a:gd name="connsiteY3" fmla="*/ 50258 h 100515"/>
                <a:gd name="connsiteX4" fmla="*/ 50379 w 100577"/>
                <a:gd name="connsiteY4" fmla="*/ 100515 h 1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77" h="100515">
                  <a:moveTo>
                    <a:pt x="50379" y="100515"/>
                  </a:moveTo>
                  <a:cubicBezTo>
                    <a:pt x="78200" y="100515"/>
                    <a:pt x="100577" y="78017"/>
                    <a:pt x="100577" y="50258"/>
                  </a:cubicBezTo>
                  <a:cubicBezTo>
                    <a:pt x="100577" y="22498"/>
                    <a:pt x="78139" y="0"/>
                    <a:pt x="50379" y="0"/>
                  </a:cubicBezTo>
                  <a:cubicBezTo>
                    <a:pt x="22619" y="0"/>
                    <a:pt x="0" y="22498"/>
                    <a:pt x="0" y="50258"/>
                  </a:cubicBezTo>
                  <a:cubicBezTo>
                    <a:pt x="61" y="78017"/>
                    <a:pt x="22619" y="100515"/>
                    <a:pt x="50379" y="100515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6462DC3-7443-474B-A5F5-5F66BE47E7BF}"/>
                </a:ext>
              </a:extLst>
            </p:cNvPr>
            <p:cNvSpPr/>
            <p:nvPr/>
          </p:nvSpPr>
          <p:spPr>
            <a:xfrm>
              <a:off x="4748106" y="1586638"/>
              <a:ext cx="315036" cy="355311"/>
            </a:xfrm>
            <a:custGeom>
              <a:avLst/>
              <a:gdLst>
                <a:gd name="connsiteX0" fmla="*/ 314976 w 315036"/>
                <a:gd name="connsiteY0" fmla="*/ 162990 h 355311"/>
                <a:gd name="connsiteX1" fmla="*/ 174422 w 315036"/>
                <a:gd name="connsiteY1" fmla="*/ 0 h 355311"/>
                <a:gd name="connsiteX2" fmla="*/ 0 w 315036"/>
                <a:gd name="connsiteY2" fmla="*/ 189056 h 355311"/>
                <a:gd name="connsiteX3" fmla="*/ 175087 w 315036"/>
                <a:gd name="connsiteY3" fmla="*/ 355311 h 355311"/>
                <a:gd name="connsiteX4" fmla="*/ 310622 w 315036"/>
                <a:gd name="connsiteY4" fmla="*/ 299127 h 355311"/>
                <a:gd name="connsiteX5" fmla="*/ 301308 w 315036"/>
                <a:gd name="connsiteY5" fmla="*/ 277959 h 355311"/>
                <a:gd name="connsiteX6" fmla="*/ 206295 w 315036"/>
                <a:gd name="connsiteY6" fmla="*/ 290781 h 355311"/>
                <a:gd name="connsiteX7" fmla="*/ 88965 w 315036"/>
                <a:gd name="connsiteY7" fmla="*/ 177988 h 355311"/>
                <a:gd name="connsiteX8" fmla="*/ 315037 w 315036"/>
                <a:gd name="connsiteY8" fmla="*/ 177988 h 355311"/>
                <a:gd name="connsiteX9" fmla="*/ 315037 w 315036"/>
                <a:gd name="connsiteY9" fmla="*/ 162990 h 355311"/>
                <a:gd name="connsiteX10" fmla="*/ 88300 w 315036"/>
                <a:gd name="connsiteY10" fmla="*/ 144181 h 355311"/>
                <a:gd name="connsiteX11" fmla="*/ 160149 w 315036"/>
                <a:gd name="connsiteY11" fmla="*/ 36771 h 355311"/>
                <a:gd name="connsiteX12" fmla="*/ 223834 w 315036"/>
                <a:gd name="connsiteY12" fmla="*/ 144181 h 355311"/>
                <a:gd name="connsiteX13" fmla="*/ 88300 w 315036"/>
                <a:gd name="connsiteY13" fmla="*/ 144181 h 35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36" h="355311">
                  <a:moveTo>
                    <a:pt x="314976" y="162990"/>
                  </a:moveTo>
                  <a:cubicBezTo>
                    <a:pt x="314976" y="74268"/>
                    <a:pt x="272520" y="0"/>
                    <a:pt x="174422" y="0"/>
                  </a:cubicBezTo>
                  <a:cubicBezTo>
                    <a:pt x="70700" y="0"/>
                    <a:pt x="0" y="90355"/>
                    <a:pt x="0" y="189056"/>
                  </a:cubicBezTo>
                  <a:cubicBezTo>
                    <a:pt x="0" y="290599"/>
                    <a:pt x="62052" y="355311"/>
                    <a:pt x="175087" y="355311"/>
                  </a:cubicBezTo>
                  <a:cubicBezTo>
                    <a:pt x="233208" y="355311"/>
                    <a:pt x="283769" y="330999"/>
                    <a:pt x="310622" y="299127"/>
                  </a:cubicBezTo>
                  <a:lnTo>
                    <a:pt x="301308" y="277959"/>
                  </a:lnTo>
                  <a:cubicBezTo>
                    <a:pt x="263811" y="286668"/>
                    <a:pt x="229459" y="290781"/>
                    <a:pt x="206295" y="290781"/>
                  </a:cubicBezTo>
                  <a:cubicBezTo>
                    <a:pt x="140735" y="290781"/>
                    <a:pt x="94589" y="262900"/>
                    <a:pt x="88965" y="177988"/>
                  </a:cubicBezTo>
                  <a:lnTo>
                    <a:pt x="315037" y="177988"/>
                  </a:lnTo>
                  <a:lnTo>
                    <a:pt x="315037" y="162990"/>
                  </a:lnTo>
                  <a:close/>
                  <a:moveTo>
                    <a:pt x="88300" y="144181"/>
                  </a:moveTo>
                  <a:cubicBezTo>
                    <a:pt x="90175" y="70518"/>
                    <a:pt x="120172" y="36771"/>
                    <a:pt x="160149" y="36771"/>
                  </a:cubicBezTo>
                  <a:cubicBezTo>
                    <a:pt x="206295" y="36771"/>
                    <a:pt x="223834" y="81102"/>
                    <a:pt x="223834" y="144181"/>
                  </a:cubicBezTo>
                  <a:lnTo>
                    <a:pt x="88300" y="144181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77E9C25D-647F-4955-8251-DE2187798099}"/>
                </a:ext>
              </a:extLst>
            </p:cNvPr>
            <p:cNvSpPr/>
            <p:nvPr/>
          </p:nvSpPr>
          <p:spPr>
            <a:xfrm>
              <a:off x="4187341" y="1588513"/>
              <a:ext cx="200549" cy="347811"/>
            </a:xfrm>
            <a:custGeom>
              <a:avLst/>
              <a:gdLst>
                <a:gd name="connsiteX0" fmla="*/ 143699 w 200549"/>
                <a:gd name="connsiteY0" fmla="*/ 292232 h 347811"/>
                <a:gd name="connsiteX1" fmla="*/ 142429 w 200549"/>
                <a:gd name="connsiteY1" fmla="*/ 177323 h 347811"/>
                <a:gd name="connsiteX2" fmla="*/ 142429 w 200549"/>
                <a:gd name="connsiteY2" fmla="*/ 27457 h 347811"/>
                <a:gd name="connsiteX3" fmla="*/ 113096 w 200549"/>
                <a:gd name="connsiteY3" fmla="*/ 0 h 347811"/>
                <a:gd name="connsiteX4" fmla="*/ 0 w 200549"/>
                <a:gd name="connsiteY4" fmla="*/ 13729 h 347811"/>
                <a:gd name="connsiteX5" fmla="*/ 0 w 200549"/>
                <a:gd name="connsiteY5" fmla="*/ 42456 h 347811"/>
                <a:gd name="connsiteX6" fmla="*/ 57455 w 200549"/>
                <a:gd name="connsiteY6" fmla="*/ 42456 h 347811"/>
                <a:gd name="connsiteX7" fmla="*/ 57455 w 200549"/>
                <a:gd name="connsiteY7" fmla="*/ 177323 h 347811"/>
                <a:gd name="connsiteX8" fmla="*/ 55641 w 200549"/>
                <a:gd name="connsiteY8" fmla="*/ 287878 h 347811"/>
                <a:gd name="connsiteX9" fmla="*/ 38767 w 200549"/>
                <a:gd name="connsiteY9" fmla="*/ 316000 h 347811"/>
                <a:gd name="connsiteX10" fmla="*/ 665 w 200549"/>
                <a:gd name="connsiteY10" fmla="*/ 327854 h 347811"/>
                <a:gd name="connsiteX11" fmla="*/ 3145 w 200549"/>
                <a:gd name="connsiteY11" fmla="*/ 347812 h 347811"/>
                <a:gd name="connsiteX12" fmla="*/ 196800 w 200549"/>
                <a:gd name="connsiteY12" fmla="*/ 347812 h 347811"/>
                <a:gd name="connsiteX13" fmla="*/ 200550 w 200549"/>
                <a:gd name="connsiteY13" fmla="*/ 325919 h 347811"/>
                <a:gd name="connsiteX14" fmla="*/ 154283 w 200549"/>
                <a:gd name="connsiteY14" fmla="*/ 314730 h 347811"/>
                <a:gd name="connsiteX15" fmla="*/ 143699 w 200549"/>
                <a:gd name="connsiteY15" fmla="*/ 292232 h 34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549" h="347811">
                  <a:moveTo>
                    <a:pt x="143699" y="292232"/>
                  </a:moveTo>
                  <a:lnTo>
                    <a:pt x="142429" y="177323"/>
                  </a:lnTo>
                  <a:lnTo>
                    <a:pt x="142429" y="27457"/>
                  </a:lnTo>
                  <a:cubicBezTo>
                    <a:pt x="142429" y="5564"/>
                    <a:pt x="132450" y="0"/>
                    <a:pt x="113096" y="0"/>
                  </a:cubicBezTo>
                  <a:cubicBezTo>
                    <a:pt x="83099" y="0"/>
                    <a:pt x="33748" y="6229"/>
                    <a:pt x="0" y="13729"/>
                  </a:cubicBezTo>
                  <a:lnTo>
                    <a:pt x="0" y="42456"/>
                  </a:lnTo>
                  <a:lnTo>
                    <a:pt x="57455" y="42456"/>
                  </a:lnTo>
                  <a:lnTo>
                    <a:pt x="57455" y="177323"/>
                  </a:lnTo>
                  <a:lnTo>
                    <a:pt x="55641" y="287878"/>
                  </a:lnTo>
                  <a:cubicBezTo>
                    <a:pt x="55641" y="301667"/>
                    <a:pt x="50017" y="312251"/>
                    <a:pt x="38767" y="316000"/>
                  </a:cubicBezTo>
                  <a:lnTo>
                    <a:pt x="665" y="327854"/>
                  </a:lnTo>
                  <a:cubicBezTo>
                    <a:pt x="665" y="335958"/>
                    <a:pt x="1935" y="339708"/>
                    <a:pt x="3145" y="347812"/>
                  </a:cubicBezTo>
                  <a:lnTo>
                    <a:pt x="196800" y="347812"/>
                  </a:lnTo>
                  <a:cubicBezTo>
                    <a:pt x="199945" y="339708"/>
                    <a:pt x="200550" y="332208"/>
                    <a:pt x="200550" y="325919"/>
                  </a:cubicBezTo>
                  <a:lnTo>
                    <a:pt x="154283" y="314730"/>
                  </a:lnTo>
                  <a:cubicBezTo>
                    <a:pt x="147509" y="312855"/>
                    <a:pt x="143699" y="308501"/>
                    <a:pt x="143699" y="292232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04C54A74-0184-4F84-95A2-B2A617429325}"/>
                </a:ext>
              </a:extLst>
            </p:cNvPr>
            <p:cNvSpPr/>
            <p:nvPr/>
          </p:nvSpPr>
          <p:spPr>
            <a:xfrm>
              <a:off x="3810132" y="1587848"/>
              <a:ext cx="338502" cy="354041"/>
            </a:xfrm>
            <a:custGeom>
              <a:avLst/>
              <a:gdLst>
                <a:gd name="connsiteX0" fmla="*/ 171157 w 338502"/>
                <a:gd name="connsiteY0" fmla="*/ 0 h 354041"/>
                <a:gd name="connsiteX1" fmla="*/ 0 w 338502"/>
                <a:gd name="connsiteY1" fmla="*/ 183613 h 354041"/>
                <a:gd name="connsiteX2" fmla="*/ 165532 w 338502"/>
                <a:gd name="connsiteY2" fmla="*/ 354041 h 354041"/>
                <a:gd name="connsiteX3" fmla="*/ 338503 w 338502"/>
                <a:gd name="connsiteY3" fmla="*/ 171094 h 354041"/>
                <a:gd name="connsiteX4" fmla="*/ 171157 w 338502"/>
                <a:gd name="connsiteY4" fmla="*/ 0 h 354041"/>
                <a:gd name="connsiteX5" fmla="*/ 175511 w 338502"/>
                <a:gd name="connsiteY5" fmla="*/ 314186 h 354041"/>
                <a:gd name="connsiteX6" fmla="*/ 90659 w 338502"/>
                <a:gd name="connsiteY6" fmla="*/ 171759 h 354041"/>
                <a:gd name="connsiteX7" fmla="*/ 166197 w 338502"/>
                <a:gd name="connsiteY7" fmla="*/ 38706 h 354041"/>
                <a:gd name="connsiteX8" fmla="*/ 246816 w 338502"/>
                <a:gd name="connsiteY8" fmla="*/ 183613 h 354041"/>
                <a:gd name="connsiteX9" fmla="*/ 175511 w 338502"/>
                <a:gd name="connsiteY9" fmla="*/ 314186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502" h="354041">
                  <a:moveTo>
                    <a:pt x="171157" y="0"/>
                  </a:moveTo>
                  <a:cubicBezTo>
                    <a:pt x="75599" y="0"/>
                    <a:pt x="0" y="92411"/>
                    <a:pt x="0" y="183613"/>
                  </a:cubicBezTo>
                  <a:cubicBezTo>
                    <a:pt x="0" y="302272"/>
                    <a:pt x="62475" y="354041"/>
                    <a:pt x="165532" y="354041"/>
                  </a:cubicBezTo>
                  <a:cubicBezTo>
                    <a:pt x="264234" y="354041"/>
                    <a:pt x="338503" y="261630"/>
                    <a:pt x="338503" y="171094"/>
                  </a:cubicBezTo>
                  <a:cubicBezTo>
                    <a:pt x="338563" y="54370"/>
                    <a:pt x="282318" y="0"/>
                    <a:pt x="171157" y="0"/>
                  </a:cubicBezTo>
                  <a:close/>
                  <a:moveTo>
                    <a:pt x="175511" y="314186"/>
                  </a:moveTo>
                  <a:cubicBezTo>
                    <a:pt x="108077" y="314186"/>
                    <a:pt x="90659" y="245482"/>
                    <a:pt x="90659" y="171759"/>
                  </a:cubicBezTo>
                  <a:cubicBezTo>
                    <a:pt x="90659" y="104325"/>
                    <a:pt x="107472" y="38706"/>
                    <a:pt x="166197" y="38706"/>
                  </a:cubicBezTo>
                  <a:cubicBezTo>
                    <a:pt x="232543" y="38706"/>
                    <a:pt x="246816" y="104930"/>
                    <a:pt x="246816" y="183613"/>
                  </a:cubicBezTo>
                  <a:cubicBezTo>
                    <a:pt x="246695" y="248567"/>
                    <a:pt x="235507" y="314186"/>
                    <a:pt x="175511" y="314186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FCE82134-0A32-4CBB-98CD-E93731C76CA5}"/>
                </a:ext>
              </a:extLst>
            </p:cNvPr>
            <p:cNvSpPr/>
            <p:nvPr/>
          </p:nvSpPr>
          <p:spPr>
            <a:xfrm>
              <a:off x="3416956" y="1396736"/>
              <a:ext cx="373520" cy="545213"/>
            </a:xfrm>
            <a:custGeom>
              <a:avLst/>
              <a:gdLst>
                <a:gd name="connsiteX0" fmla="*/ 317395 w 373520"/>
                <a:gd name="connsiteY0" fmla="*/ 493384 h 545213"/>
                <a:gd name="connsiteX1" fmla="*/ 314855 w 373520"/>
                <a:gd name="connsiteY1" fmla="*/ 365351 h 545213"/>
                <a:gd name="connsiteX2" fmla="*/ 314855 w 373520"/>
                <a:gd name="connsiteY2" fmla="*/ 31207 h 545213"/>
                <a:gd name="connsiteX3" fmla="*/ 282378 w 373520"/>
                <a:gd name="connsiteY3" fmla="*/ 0 h 545213"/>
                <a:gd name="connsiteX4" fmla="*/ 172426 w 373520"/>
                <a:gd name="connsiteY4" fmla="*/ 13184 h 545213"/>
                <a:gd name="connsiteX5" fmla="*/ 172426 w 373520"/>
                <a:gd name="connsiteY5" fmla="*/ 42516 h 545213"/>
                <a:gd name="connsiteX6" fmla="*/ 229882 w 373520"/>
                <a:gd name="connsiteY6" fmla="*/ 42516 h 545213"/>
                <a:gd name="connsiteX7" fmla="*/ 229882 w 373520"/>
                <a:gd name="connsiteY7" fmla="*/ 199216 h 545213"/>
                <a:gd name="connsiteX8" fmla="*/ 176176 w 373520"/>
                <a:gd name="connsiteY8" fmla="*/ 194862 h 545213"/>
                <a:gd name="connsiteX9" fmla="*/ 0 w 373520"/>
                <a:gd name="connsiteY9" fmla="*/ 382224 h 545213"/>
                <a:gd name="connsiteX10" fmla="*/ 134929 w 373520"/>
                <a:gd name="connsiteY10" fmla="*/ 545214 h 545213"/>
                <a:gd name="connsiteX11" fmla="*/ 229217 w 373520"/>
                <a:gd name="connsiteY11" fmla="*/ 497133 h 545213"/>
                <a:gd name="connsiteX12" fmla="*/ 269133 w 373520"/>
                <a:gd name="connsiteY12" fmla="*/ 545214 h 545213"/>
                <a:gd name="connsiteX13" fmla="*/ 373520 w 373520"/>
                <a:gd name="connsiteY13" fmla="*/ 514672 h 545213"/>
                <a:gd name="connsiteX14" fmla="*/ 369166 w 373520"/>
                <a:gd name="connsiteY14" fmla="*/ 493384 h 545213"/>
                <a:gd name="connsiteX15" fmla="*/ 317395 w 373520"/>
                <a:gd name="connsiteY15" fmla="*/ 493384 h 545213"/>
                <a:gd name="connsiteX16" fmla="*/ 229942 w 373520"/>
                <a:gd name="connsiteY16" fmla="*/ 364746 h 545213"/>
                <a:gd name="connsiteX17" fmla="*/ 228068 w 373520"/>
                <a:gd name="connsiteY17" fmla="*/ 470281 h 545213"/>
                <a:gd name="connsiteX18" fmla="*/ 170552 w 373520"/>
                <a:gd name="connsiteY18" fmla="*/ 483344 h 545213"/>
                <a:gd name="connsiteX19" fmla="*/ 90054 w 373520"/>
                <a:gd name="connsiteY19" fmla="*/ 369100 h 545213"/>
                <a:gd name="connsiteX20" fmla="*/ 178112 w 373520"/>
                <a:gd name="connsiteY20" fmla="*/ 232903 h 545213"/>
                <a:gd name="connsiteX21" fmla="*/ 229942 w 373520"/>
                <a:gd name="connsiteY21" fmla="*/ 242882 h 545213"/>
                <a:gd name="connsiteX22" fmla="*/ 229942 w 373520"/>
                <a:gd name="connsiteY22" fmla="*/ 364746 h 54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3520" h="545213">
                  <a:moveTo>
                    <a:pt x="317395" y="493384"/>
                  </a:moveTo>
                  <a:lnTo>
                    <a:pt x="314855" y="365351"/>
                  </a:lnTo>
                  <a:lnTo>
                    <a:pt x="314855" y="31207"/>
                  </a:lnTo>
                  <a:cubicBezTo>
                    <a:pt x="314855" y="6229"/>
                    <a:pt x="306086" y="0"/>
                    <a:pt x="282378" y="0"/>
                  </a:cubicBezTo>
                  <a:cubicBezTo>
                    <a:pt x="252985" y="0"/>
                    <a:pt x="206174" y="6229"/>
                    <a:pt x="172426" y="13184"/>
                  </a:cubicBezTo>
                  <a:lnTo>
                    <a:pt x="172426" y="42516"/>
                  </a:lnTo>
                  <a:lnTo>
                    <a:pt x="229882" y="42516"/>
                  </a:lnTo>
                  <a:lnTo>
                    <a:pt x="229882" y="199216"/>
                  </a:lnTo>
                  <a:cubicBezTo>
                    <a:pt x="214883" y="196676"/>
                    <a:pt x="199884" y="194862"/>
                    <a:pt x="176176" y="194862"/>
                  </a:cubicBezTo>
                  <a:cubicBezTo>
                    <a:pt x="78139" y="194862"/>
                    <a:pt x="0" y="267255"/>
                    <a:pt x="0" y="382224"/>
                  </a:cubicBezTo>
                  <a:cubicBezTo>
                    <a:pt x="0" y="513402"/>
                    <a:pt x="67495" y="545214"/>
                    <a:pt x="134929" y="545214"/>
                  </a:cubicBezTo>
                  <a:cubicBezTo>
                    <a:pt x="177386" y="545214"/>
                    <a:pt x="207988" y="520901"/>
                    <a:pt x="229217" y="497133"/>
                  </a:cubicBezTo>
                  <a:cubicBezTo>
                    <a:pt x="229217" y="520236"/>
                    <a:pt x="237381" y="545214"/>
                    <a:pt x="269133" y="545214"/>
                  </a:cubicBezTo>
                  <a:cubicBezTo>
                    <a:pt x="315400" y="545214"/>
                    <a:pt x="346667" y="529610"/>
                    <a:pt x="373520" y="514672"/>
                  </a:cubicBezTo>
                  <a:lnTo>
                    <a:pt x="369166" y="493384"/>
                  </a:lnTo>
                  <a:lnTo>
                    <a:pt x="317395" y="493384"/>
                  </a:lnTo>
                  <a:close/>
                  <a:moveTo>
                    <a:pt x="229942" y="364746"/>
                  </a:moveTo>
                  <a:lnTo>
                    <a:pt x="228068" y="470281"/>
                  </a:lnTo>
                  <a:cubicBezTo>
                    <a:pt x="212524" y="475301"/>
                    <a:pt x="193111" y="483344"/>
                    <a:pt x="170552" y="483344"/>
                  </a:cubicBezTo>
                  <a:cubicBezTo>
                    <a:pt x="123136" y="483344"/>
                    <a:pt x="90054" y="447783"/>
                    <a:pt x="90054" y="369100"/>
                  </a:cubicBezTo>
                  <a:cubicBezTo>
                    <a:pt x="90054" y="277234"/>
                    <a:pt x="113822" y="232903"/>
                    <a:pt x="178112" y="232903"/>
                  </a:cubicBezTo>
                  <a:cubicBezTo>
                    <a:pt x="202545" y="232903"/>
                    <a:pt x="216879" y="238588"/>
                    <a:pt x="229942" y="242882"/>
                  </a:cubicBezTo>
                  <a:lnTo>
                    <a:pt x="229942" y="36474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CB00B367-44E7-4283-B89B-9451314AB0EB}"/>
                </a:ext>
              </a:extLst>
            </p:cNvPr>
            <p:cNvSpPr/>
            <p:nvPr/>
          </p:nvSpPr>
          <p:spPr>
            <a:xfrm>
              <a:off x="2974610" y="1588453"/>
              <a:ext cx="413436" cy="353436"/>
            </a:xfrm>
            <a:custGeom>
              <a:avLst/>
              <a:gdLst>
                <a:gd name="connsiteX0" fmla="*/ 357856 w 413436"/>
                <a:gd name="connsiteY0" fmla="*/ 301667 h 353436"/>
                <a:gd name="connsiteX1" fmla="*/ 354711 w 413436"/>
                <a:gd name="connsiteY1" fmla="*/ 178049 h 353436"/>
                <a:gd name="connsiteX2" fmla="*/ 354711 w 413436"/>
                <a:gd name="connsiteY2" fmla="*/ 35017 h 353436"/>
                <a:gd name="connsiteX3" fmla="*/ 314795 w 413436"/>
                <a:gd name="connsiteY3" fmla="*/ 60 h 353436"/>
                <a:gd name="connsiteX4" fmla="*/ 217968 w 413436"/>
                <a:gd name="connsiteY4" fmla="*/ 16874 h 353436"/>
                <a:gd name="connsiteX5" fmla="*/ 217968 w 413436"/>
                <a:gd name="connsiteY5" fmla="*/ 41851 h 353436"/>
                <a:gd name="connsiteX6" fmla="*/ 269798 w 413436"/>
                <a:gd name="connsiteY6" fmla="*/ 41851 h 353436"/>
                <a:gd name="connsiteX7" fmla="*/ 269798 w 413436"/>
                <a:gd name="connsiteY7" fmla="*/ 177383 h 353436"/>
                <a:gd name="connsiteX8" fmla="*/ 267923 w 413436"/>
                <a:gd name="connsiteY8" fmla="*/ 271125 h 353436"/>
                <a:gd name="connsiteX9" fmla="*/ 186700 w 413436"/>
                <a:gd name="connsiteY9" fmla="*/ 291688 h 353436"/>
                <a:gd name="connsiteX10" fmla="*/ 138679 w 413436"/>
                <a:gd name="connsiteY10" fmla="*/ 225162 h 353436"/>
                <a:gd name="connsiteX11" fmla="*/ 138679 w 413436"/>
                <a:gd name="connsiteY11" fmla="*/ 34352 h 353436"/>
                <a:gd name="connsiteX12" fmla="*/ 99307 w 413436"/>
                <a:gd name="connsiteY12" fmla="*/ 0 h 353436"/>
                <a:gd name="connsiteX13" fmla="*/ 0 w 413436"/>
                <a:gd name="connsiteY13" fmla="*/ 16813 h 353436"/>
                <a:gd name="connsiteX14" fmla="*/ 0 w 413436"/>
                <a:gd name="connsiteY14" fmla="*/ 41791 h 353436"/>
                <a:gd name="connsiteX15" fmla="*/ 53101 w 413436"/>
                <a:gd name="connsiteY15" fmla="*/ 41791 h 353436"/>
                <a:gd name="connsiteX16" fmla="*/ 53101 w 413436"/>
                <a:gd name="connsiteY16" fmla="*/ 237862 h 353436"/>
                <a:gd name="connsiteX17" fmla="*/ 152408 w 413436"/>
                <a:gd name="connsiteY17" fmla="*/ 353436 h 353436"/>
                <a:gd name="connsiteX18" fmla="*/ 268528 w 413436"/>
                <a:gd name="connsiteY18" fmla="*/ 294772 h 353436"/>
                <a:gd name="connsiteX19" fmla="*/ 319754 w 413436"/>
                <a:gd name="connsiteY19" fmla="*/ 352166 h 353436"/>
                <a:gd name="connsiteX20" fmla="*/ 413437 w 413436"/>
                <a:gd name="connsiteY20" fmla="*/ 319085 h 353436"/>
                <a:gd name="connsiteX21" fmla="*/ 411562 w 413436"/>
                <a:gd name="connsiteY21" fmla="*/ 301606 h 353436"/>
                <a:gd name="connsiteX22" fmla="*/ 357856 w 413436"/>
                <a:gd name="connsiteY22" fmla="*/ 301606 h 35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3436" h="353436">
                  <a:moveTo>
                    <a:pt x="357856" y="301667"/>
                  </a:moveTo>
                  <a:lnTo>
                    <a:pt x="354711" y="178049"/>
                  </a:lnTo>
                  <a:lnTo>
                    <a:pt x="354711" y="35017"/>
                  </a:lnTo>
                  <a:cubicBezTo>
                    <a:pt x="354711" y="10644"/>
                    <a:pt x="339108" y="60"/>
                    <a:pt x="314795" y="60"/>
                  </a:cubicBezTo>
                  <a:cubicBezTo>
                    <a:pt x="284797" y="60"/>
                    <a:pt x="248510" y="8165"/>
                    <a:pt x="217968" y="16874"/>
                  </a:cubicBezTo>
                  <a:lnTo>
                    <a:pt x="217968" y="41851"/>
                  </a:lnTo>
                  <a:lnTo>
                    <a:pt x="269798" y="41851"/>
                  </a:lnTo>
                  <a:lnTo>
                    <a:pt x="269798" y="177383"/>
                  </a:lnTo>
                  <a:lnTo>
                    <a:pt x="267923" y="271125"/>
                  </a:lnTo>
                  <a:cubicBezTo>
                    <a:pt x="248510" y="279834"/>
                    <a:pt x="223048" y="291688"/>
                    <a:pt x="186700" y="291688"/>
                  </a:cubicBezTo>
                  <a:cubicBezTo>
                    <a:pt x="145090" y="291688"/>
                    <a:pt x="139344" y="261388"/>
                    <a:pt x="138679" y="225162"/>
                  </a:cubicBezTo>
                  <a:lnTo>
                    <a:pt x="138679" y="34352"/>
                  </a:lnTo>
                  <a:cubicBezTo>
                    <a:pt x="138679" y="10584"/>
                    <a:pt x="124950" y="0"/>
                    <a:pt x="99307" y="0"/>
                  </a:cubicBezTo>
                  <a:cubicBezTo>
                    <a:pt x="69975" y="0"/>
                    <a:pt x="34352" y="7499"/>
                    <a:pt x="0" y="16813"/>
                  </a:cubicBezTo>
                  <a:lnTo>
                    <a:pt x="0" y="41791"/>
                  </a:lnTo>
                  <a:lnTo>
                    <a:pt x="53101" y="41791"/>
                  </a:lnTo>
                  <a:lnTo>
                    <a:pt x="53101" y="237862"/>
                  </a:lnTo>
                  <a:cubicBezTo>
                    <a:pt x="53101" y="296587"/>
                    <a:pt x="59935" y="353436"/>
                    <a:pt x="152408" y="353436"/>
                  </a:cubicBezTo>
                  <a:cubicBezTo>
                    <a:pt x="201094" y="353436"/>
                    <a:pt x="236716" y="326040"/>
                    <a:pt x="268528" y="294772"/>
                  </a:cubicBezTo>
                  <a:cubicBezTo>
                    <a:pt x="269194" y="330999"/>
                    <a:pt x="286612" y="352166"/>
                    <a:pt x="319754" y="352166"/>
                  </a:cubicBezTo>
                  <a:cubicBezTo>
                    <a:pt x="360941" y="352166"/>
                    <a:pt x="390939" y="332874"/>
                    <a:pt x="413437" y="319085"/>
                  </a:cubicBezTo>
                  <a:lnTo>
                    <a:pt x="411562" y="301606"/>
                  </a:lnTo>
                  <a:lnTo>
                    <a:pt x="357856" y="30160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E9572656-402E-46BF-8230-C5E5EAB338FB}"/>
                </a:ext>
              </a:extLst>
            </p:cNvPr>
            <p:cNvSpPr/>
            <p:nvPr/>
          </p:nvSpPr>
          <p:spPr>
            <a:xfrm>
              <a:off x="2256004" y="1595287"/>
              <a:ext cx="362442" cy="357851"/>
            </a:xfrm>
            <a:custGeom>
              <a:avLst/>
              <a:gdLst>
                <a:gd name="connsiteX0" fmla="*/ 254608 w 362442"/>
                <a:gd name="connsiteY0" fmla="*/ 21288 h 357851"/>
                <a:gd name="connsiteX1" fmla="*/ 283094 w 362442"/>
                <a:gd name="connsiteY1" fmla="*/ 30663 h 357851"/>
                <a:gd name="connsiteX2" fmla="*/ 296157 w 362442"/>
                <a:gd name="connsiteY2" fmla="*/ 50620 h 357851"/>
                <a:gd name="connsiteX3" fmla="*/ 292468 w 362442"/>
                <a:gd name="connsiteY3" fmla="*/ 69974 h 357851"/>
                <a:gd name="connsiteX4" fmla="*/ 211849 w 362442"/>
                <a:gd name="connsiteY4" fmla="*/ 274814 h 357851"/>
                <a:gd name="connsiteX5" fmla="*/ 124396 w 362442"/>
                <a:gd name="connsiteY5" fmla="*/ 0 h 357851"/>
                <a:gd name="connsiteX6" fmla="*/ 1320 w 362442"/>
                <a:gd name="connsiteY6" fmla="*/ 0 h 357851"/>
                <a:gd name="connsiteX7" fmla="*/ 1804 w 362442"/>
                <a:gd name="connsiteY7" fmla="*/ 24373 h 357851"/>
                <a:gd name="connsiteX8" fmla="*/ 51095 w 362442"/>
                <a:gd name="connsiteY8" fmla="*/ 59269 h 357851"/>
                <a:gd name="connsiteX9" fmla="*/ 156873 w 362442"/>
                <a:gd name="connsiteY9" fmla="*/ 357851 h 357851"/>
                <a:gd name="connsiteX10" fmla="*/ 219288 w 362442"/>
                <a:gd name="connsiteY10" fmla="*/ 339768 h 357851"/>
                <a:gd name="connsiteX11" fmla="*/ 328030 w 362442"/>
                <a:gd name="connsiteY11" fmla="*/ 79953 h 357851"/>
                <a:gd name="connsiteX12" fmla="*/ 361717 w 362442"/>
                <a:gd name="connsiteY12" fmla="*/ 15603 h 357851"/>
                <a:gd name="connsiteX13" fmla="*/ 362442 w 362442"/>
                <a:gd name="connsiteY13" fmla="*/ 0 h 357851"/>
                <a:gd name="connsiteX14" fmla="*/ 255273 w 362442"/>
                <a:gd name="connsiteY14" fmla="*/ 0 h 357851"/>
                <a:gd name="connsiteX15" fmla="*/ 254608 w 362442"/>
                <a:gd name="connsiteY15" fmla="*/ 21288 h 3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442" h="357851">
                  <a:moveTo>
                    <a:pt x="254608" y="21288"/>
                  </a:moveTo>
                  <a:lnTo>
                    <a:pt x="283094" y="30663"/>
                  </a:lnTo>
                  <a:cubicBezTo>
                    <a:pt x="291198" y="33807"/>
                    <a:pt x="296157" y="40037"/>
                    <a:pt x="296157" y="50620"/>
                  </a:cubicBezTo>
                  <a:cubicBezTo>
                    <a:pt x="296157" y="56245"/>
                    <a:pt x="294947" y="62474"/>
                    <a:pt x="292468" y="69974"/>
                  </a:cubicBezTo>
                  <a:lnTo>
                    <a:pt x="211849" y="274814"/>
                  </a:lnTo>
                  <a:lnTo>
                    <a:pt x="124396" y="0"/>
                  </a:lnTo>
                  <a:lnTo>
                    <a:pt x="1320" y="0"/>
                  </a:lnTo>
                  <a:cubicBezTo>
                    <a:pt x="-1159" y="7499"/>
                    <a:pt x="353" y="18506"/>
                    <a:pt x="1804" y="24373"/>
                  </a:cubicBezTo>
                  <a:cubicBezTo>
                    <a:pt x="31076" y="34473"/>
                    <a:pt x="40692" y="32054"/>
                    <a:pt x="51095" y="59269"/>
                  </a:cubicBezTo>
                  <a:lnTo>
                    <a:pt x="156873" y="357851"/>
                  </a:lnTo>
                  <a:lnTo>
                    <a:pt x="219288" y="339768"/>
                  </a:lnTo>
                  <a:lnTo>
                    <a:pt x="328030" y="79953"/>
                  </a:lnTo>
                  <a:cubicBezTo>
                    <a:pt x="339279" y="51286"/>
                    <a:pt x="351133" y="27518"/>
                    <a:pt x="361717" y="15603"/>
                  </a:cubicBezTo>
                  <a:cubicBezTo>
                    <a:pt x="362442" y="13124"/>
                    <a:pt x="362442" y="2480"/>
                    <a:pt x="362442" y="0"/>
                  </a:cubicBezTo>
                  <a:lnTo>
                    <a:pt x="255273" y="0"/>
                  </a:lnTo>
                  <a:cubicBezTo>
                    <a:pt x="253398" y="7560"/>
                    <a:pt x="253398" y="13184"/>
                    <a:pt x="254608" y="2128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" name="Espace réservé de la date 1">
            <a:extLst>
              <a:ext uri="{FF2B5EF4-FFF2-40B4-BE49-F238E27FC236}">
                <a16:creationId xmlns:a16="http://schemas.microsoft.com/office/drawing/2014/main" id="{28387CA4-B63C-462E-909C-90DCD9EA6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646" y="3125028"/>
            <a:ext cx="1561944" cy="230832"/>
          </a:xfrm>
          <a:prstGeom prst="rect">
            <a:avLst/>
          </a:prstGeom>
          <a:solidFill>
            <a:schemeClr val="accent4"/>
          </a:solidFill>
          <a:ln w="19050" cap="sq">
            <a:noFill/>
            <a:miter lim="800000"/>
          </a:ln>
        </p:spPr>
        <p:txBody>
          <a:bodyPr vert="horz" wrap="none" lIns="108000" tIns="45720" rIns="72000" bIns="45720" rtlCol="0" anchor="ctr">
            <a:spAutoFit/>
          </a:bodyPr>
          <a:lstStyle>
            <a:lvl1pPr algn="l">
              <a:defRPr sz="900" cap="all" spc="6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A5A938C-2DF6-40FE-A152-96664CE06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320" y="3731413"/>
            <a:ext cx="10515600" cy="1421928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 cap="none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</a:t>
            </a:r>
            <a:br>
              <a:rPr lang="fr-FR"/>
            </a:br>
            <a:r>
              <a:rPr lang="fr-FR"/>
              <a:t>présentation</a:t>
            </a:r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76166621-145F-4BD6-9E58-679F247784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358" y="5444562"/>
            <a:ext cx="10515599" cy="341632"/>
          </a:xfrm>
        </p:spPr>
        <p:txBody>
          <a:bodyPr wrap="square">
            <a:spAutoFit/>
          </a:bodyPr>
          <a:lstStyle>
            <a:lvl1pPr marL="0" indent="0">
              <a:buNone/>
              <a:defRPr sz="1800" b="0" cap="all" spc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BA877FDD-A5C4-466C-B758-F5078CA75BAA}"/>
              </a:ext>
            </a:extLst>
          </p:cNvPr>
          <p:cNvGrpSpPr/>
          <p:nvPr userDrawn="1"/>
        </p:nvGrpSpPr>
        <p:grpSpPr>
          <a:xfrm>
            <a:off x="12312774" y="0"/>
            <a:ext cx="1885826" cy="1528108"/>
            <a:chOff x="4867566" y="1651754"/>
            <a:chExt cx="1885826" cy="152810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DF9AF3A1-5DB4-4545-AF33-0451B09BD5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BD42BAA-0B14-48CE-A574-41223D128AF1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d’image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aire un clic droit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ur la diapositiv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Mise en forme de l’arrière plan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hoisir l’image souhaitée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64692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mair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3E8A3C39-7DF2-4979-9D83-825B9FB704A5}"/>
              </a:ext>
            </a:extLst>
          </p:cNvPr>
          <p:cNvSpPr/>
          <p:nvPr userDrawn="1"/>
        </p:nvSpPr>
        <p:spPr>
          <a:xfrm flipV="1">
            <a:off x="0" y="5214705"/>
            <a:ext cx="12192000" cy="1643295"/>
          </a:xfrm>
          <a:custGeom>
            <a:avLst/>
            <a:gdLst>
              <a:gd name="connsiteX0" fmla="*/ 6096002 w 12192000"/>
              <a:gd name="connsiteY0" fmla="*/ 1643295 h 1643295"/>
              <a:gd name="connsiteX1" fmla="*/ 11613657 w 12192000"/>
              <a:gd name="connsiteY1" fmla="*/ 839797 h 1643295"/>
              <a:gd name="connsiteX2" fmla="*/ 12192000 w 12192000"/>
              <a:gd name="connsiteY2" fmla="*/ 641180 h 1643295"/>
              <a:gd name="connsiteX3" fmla="*/ 12192000 w 12192000"/>
              <a:gd name="connsiteY3" fmla="*/ 0 h 1643295"/>
              <a:gd name="connsiteX4" fmla="*/ 0 w 12192000"/>
              <a:gd name="connsiteY4" fmla="*/ 0 h 1643295"/>
              <a:gd name="connsiteX5" fmla="*/ 0 w 12192000"/>
              <a:gd name="connsiteY5" fmla="*/ 641178 h 1643295"/>
              <a:gd name="connsiteX6" fmla="*/ 578350 w 12192000"/>
              <a:gd name="connsiteY6" fmla="*/ 839797 h 1643295"/>
              <a:gd name="connsiteX7" fmla="*/ 6096002 w 12192000"/>
              <a:gd name="connsiteY7" fmla="*/ 1643295 h 1643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1643295">
                <a:moveTo>
                  <a:pt x="6096002" y="1643295"/>
                </a:moveTo>
                <a:cubicBezTo>
                  <a:pt x="8124867" y="1643295"/>
                  <a:pt x="10017180" y="1348710"/>
                  <a:pt x="11613657" y="839797"/>
                </a:cubicBezTo>
                <a:lnTo>
                  <a:pt x="12192000" y="641180"/>
                </a:lnTo>
                <a:lnTo>
                  <a:pt x="12192000" y="0"/>
                </a:lnTo>
                <a:lnTo>
                  <a:pt x="0" y="0"/>
                </a:lnTo>
                <a:lnTo>
                  <a:pt x="0" y="641178"/>
                </a:lnTo>
                <a:lnTo>
                  <a:pt x="578350" y="839797"/>
                </a:lnTo>
                <a:cubicBezTo>
                  <a:pt x="2174827" y="1348710"/>
                  <a:pt x="4067139" y="1643295"/>
                  <a:pt x="6096002" y="1643295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37" name="Forme libre : forme 36">
            <a:extLst>
              <a:ext uri="{FF2B5EF4-FFF2-40B4-BE49-F238E27FC236}">
                <a16:creationId xmlns:a16="http://schemas.microsoft.com/office/drawing/2014/main" id="{1D7C4C15-A9D8-4122-A8BA-5A4601471DF8}"/>
              </a:ext>
            </a:extLst>
          </p:cNvPr>
          <p:cNvSpPr/>
          <p:nvPr userDrawn="1"/>
        </p:nvSpPr>
        <p:spPr>
          <a:xfrm>
            <a:off x="0" y="0"/>
            <a:ext cx="12192000" cy="2464794"/>
          </a:xfrm>
          <a:custGeom>
            <a:avLst/>
            <a:gdLst>
              <a:gd name="connsiteX0" fmla="*/ 0 w 12192000"/>
              <a:gd name="connsiteY0" fmla="*/ 0 h 2464794"/>
              <a:gd name="connsiteX1" fmla="*/ 12192000 w 12192000"/>
              <a:gd name="connsiteY1" fmla="*/ 0 h 2464794"/>
              <a:gd name="connsiteX2" fmla="*/ 12192000 w 12192000"/>
              <a:gd name="connsiteY2" fmla="*/ 1462679 h 2464794"/>
              <a:gd name="connsiteX3" fmla="*/ 11613657 w 12192000"/>
              <a:gd name="connsiteY3" fmla="*/ 1661296 h 2464794"/>
              <a:gd name="connsiteX4" fmla="*/ 6096002 w 12192000"/>
              <a:gd name="connsiteY4" fmla="*/ 2464794 h 2464794"/>
              <a:gd name="connsiteX5" fmla="*/ 578350 w 12192000"/>
              <a:gd name="connsiteY5" fmla="*/ 1661296 h 2464794"/>
              <a:gd name="connsiteX6" fmla="*/ 0 w 12192000"/>
              <a:gd name="connsiteY6" fmla="*/ 1462677 h 2464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464794">
                <a:moveTo>
                  <a:pt x="0" y="0"/>
                </a:moveTo>
                <a:lnTo>
                  <a:pt x="12192000" y="0"/>
                </a:lnTo>
                <a:lnTo>
                  <a:pt x="12192000" y="1462679"/>
                </a:lnTo>
                <a:lnTo>
                  <a:pt x="11613657" y="1661296"/>
                </a:lnTo>
                <a:cubicBezTo>
                  <a:pt x="10017180" y="2170209"/>
                  <a:pt x="8124867" y="2464794"/>
                  <a:pt x="6096002" y="2464794"/>
                </a:cubicBezTo>
                <a:cubicBezTo>
                  <a:pt x="4067140" y="2464794"/>
                  <a:pt x="2174827" y="2170209"/>
                  <a:pt x="578350" y="1661296"/>
                </a:cubicBezTo>
                <a:lnTo>
                  <a:pt x="0" y="1462677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815" y="419253"/>
            <a:ext cx="10903544" cy="1200329"/>
          </a:xfrm>
        </p:spPr>
        <p:txBody>
          <a:bodyPr wrap="square">
            <a:spAutoFit/>
          </a:bodyPr>
          <a:lstStyle>
            <a:lvl1pPr algn="ctr">
              <a:defRPr sz="8000">
                <a:solidFill>
                  <a:schemeClr val="accent2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31D424F-534F-4D51-9F8C-DD58B373BA75}"/>
              </a:ext>
            </a:extLst>
          </p:cNvPr>
          <p:cNvCxnSpPr>
            <a:cxnSpLocks/>
          </p:cNvCxnSpPr>
          <p:nvPr userDrawn="1"/>
        </p:nvCxnSpPr>
        <p:spPr>
          <a:xfrm>
            <a:off x="5562600" y="1752600"/>
            <a:ext cx="1066800" cy="0"/>
          </a:xfrm>
          <a:prstGeom prst="line">
            <a:avLst/>
          </a:prstGeom>
          <a:ln w="44450" cap="rnd">
            <a:solidFill>
              <a:srgbClr val="88C6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110631CE-B77E-42E7-8637-0B34150970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35070" y="2547279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EE42027-A9D6-4CE4-B415-9A6501E3A819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729822" y="154495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72DA86B7-AFD6-4FBD-AC9E-67EC65115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1329" y="3026556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55348499-EC8D-4008-8C06-5F124563520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696081" y="2024235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91A3C98-AAAC-42F9-B870-771A938E6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67587" y="2547279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E77DB212-B1F9-44A2-92B1-2D6FF44946AB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9662339" y="154495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DF8BB51F-BAE1-4E8E-8818-301F3E557CC8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729822" y="5213312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8EE7A83E-88FF-45CA-BDDB-689C74130E9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5696081" y="4855609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5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7F180351-15DF-41EF-8B05-B34267246D4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9662339" y="5213312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6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5DB1652F-1188-42BF-AF3A-C36E52E832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1329" y="4184796"/>
            <a:ext cx="2189343" cy="683264"/>
          </a:xfrm>
        </p:spPr>
        <p:txBody>
          <a:bodyPr wrap="square" numCol="1" anchor="b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3E9C56DA-5121-4D40-9231-9A732D9531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5070" y="4477679"/>
            <a:ext cx="2189343" cy="683264"/>
          </a:xfrm>
        </p:spPr>
        <p:txBody>
          <a:bodyPr wrap="square" numCol="1" anchor="b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5F80654-2E4F-4579-B42C-3B8BA54EAD3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7587" y="4477679"/>
            <a:ext cx="2189343" cy="683264"/>
          </a:xfrm>
        </p:spPr>
        <p:txBody>
          <a:bodyPr wrap="square" numCol="1" anchor="b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39" name="Espace réservé de la date 8">
            <a:extLst>
              <a:ext uri="{FF2B5EF4-FFF2-40B4-BE49-F238E27FC236}">
                <a16:creationId xmlns:a16="http://schemas.microsoft.com/office/drawing/2014/main" id="{C86A0F49-4F97-4A99-AEAE-5B5708C1663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331962" y="6245995"/>
            <a:ext cx="1088760" cy="215444"/>
          </a:xfrm>
        </p:spPr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47" name="Espace réservé du numéro de diapositive 12">
            <a:extLst>
              <a:ext uri="{FF2B5EF4-FFF2-40B4-BE49-F238E27FC236}">
                <a16:creationId xmlns:a16="http://schemas.microsoft.com/office/drawing/2014/main" id="{03AFF4D2-8DD2-4CA1-9BEA-058A0B605E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38447" y="6228668"/>
            <a:ext cx="520337" cy="250098"/>
          </a:xfrm>
        </p:spPr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D6D2F643-61F8-4A17-9F69-9A81D5FD7630}"/>
              </a:ext>
            </a:extLst>
          </p:cNvPr>
          <p:cNvSpPr/>
          <p:nvPr userDrawn="1"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accent2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9" name="Espace réservé du pied de page 11">
            <a:extLst>
              <a:ext uri="{FF2B5EF4-FFF2-40B4-BE49-F238E27FC236}">
                <a16:creationId xmlns:a16="http://schemas.microsoft.com/office/drawing/2014/main" id="{90A52AEB-2D22-43C4-8624-520FCF2BCB8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AD296F6-43A7-4CC5-A189-71E1BF6A502D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3B1AF54B-BC3B-4AB4-9A14-6CFBA5764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2DD97A7-6D1D-4E5F-BFF7-9EEC8A6EDBDA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4699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B848DD1-95EF-4BBC-9D80-E37AC0D64CEA}"/>
              </a:ext>
            </a:extLst>
          </p:cNvPr>
          <p:cNvSpPr/>
          <p:nvPr userDrawn="1"/>
        </p:nvSpPr>
        <p:spPr>
          <a:xfrm>
            <a:off x="106680" y="152400"/>
            <a:ext cx="12085320" cy="6568440"/>
          </a:xfrm>
          <a:prstGeom prst="rect">
            <a:avLst/>
          </a:prstGeom>
          <a:gradFill>
            <a:gsLst>
              <a:gs pos="16000">
                <a:srgbClr val="007531">
                  <a:alpha val="0"/>
                </a:srgbClr>
              </a:gs>
              <a:gs pos="65000">
                <a:srgbClr val="007531">
                  <a:alpha val="81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14B7F20-F0A2-419E-818A-560A5334808E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0669531-70C6-4856-A68C-6354E86B134E}"/>
              </a:ext>
            </a:extLst>
          </p:cNvPr>
          <p:cNvSpPr/>
          <p:nvPr userDrawn="1"/>
        </p:nvSpPr>
        <p:spPr>
          <a:xfrm>
            <a:off x="0" y="0"/>
            <a:ext cx="26517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3633E2F3-6EDD-4240-914B-5277A67CE1F5}"/>
              </a:ext>
            </a:extLst>
          </p:cNvPr>
          <p:cNvGrpSpPr/>
          <p:nvPr userDrawn="1"/>
        </p:nvGrpSpPr>
        <p:grpSpPr>
          <a:xfrm>
            <a:off x="9281652" y="5760238"/>
            <a:ext cx="2255199" cy="580600"/>
            <a:chOff x="9281652" y="5760238"/>
            <a:chExt cx="2255199" cy="580600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6DEA8304-590E-47B6-A8EE-F2CEE733357E}"/>
                </a:ext>
              </a:extLst>
            </p:cNvPr>
            <p:cNvSpPr/>
            <p:nvPr/>
          </p:nvSpPr>
          <p:spPr>
            <a:xfrm>
              <a:off x="9281652" y="5760238"/>
              <a:ext cx="496815" cy="580600"/>
            </a:xfrm>
            <a:custGeom>
              <a:avLst/>
              <a:gdLst>
                <a:gd name="connsiteX0" fmla="*/ 492982 w 496815"/>
                <a:gd name="connsiteY0" fmla="*/ 69144 h 580600"/>
                <a:gd name="connsiteX1" fmla="*/ 476636 w 496815"/>
                <a:gd name="connsiteY1" fmla="*/ 18299 h 580600"/>
                <a:gd name="connsiteX2" fmla="*/ 446404 w 496815"/>
                <a:gd name="connsiteY2" fmla="*/ 0 h 580600"/>
                <a:gd name="connsiteX3" fmla="*/ 385396 w 496815"/>
                <a:gd name="connsiteY3" fmla="*/ 44264 h 580600"/>
                <a:gd name="connsiteX4" fmla="*/ 258317 w 496815"/>
                <a:gd name="connsiteY4" fmla="*/ 298527 h 580600"/>
                <a:gd name="connsiteX5" fmla="*/ 136699 w 496815"/>
                <a:gd name="connsiteY5" fmla="*/ 223199 h 580600"/>
                <a:gd name="connsiteX6" fmla="*/ 87986 w 496815"/>
                <a:gd name="connsiteY6" fmla="*/ 232638 h 580600"/>
                <a:gd name="connsiteX7" fmla="*/ 0 w 496815"/>
                <a:gd name="connsiteY7" fmla="*/ 359752 h 580600"/>
                <a:gd name="connsiteX8" fmla="*/ 116302 w 496815"/>
                <a:gd name="connsiteY8" fmla="*/ 488457 h 580600"/>
                <a:gd name="connsiteX9" fmla="*/ 118364 w 496815"/>
                <a:gd name="connsiteY9" fmla="*/ 488493 h 580600"/>
                <a:gd name="connsiteX10" fmla="*/ 169463 w 496815"/>
                <a:gd name="connsiteY10" fmla="*/ 475474 h 580600"/>
                <a:gd name="connsiteX11" fmla="*/ 202444 w 496815"/>
                <a:gd name="connsiteY11" fmla="*/ 448062 h 580600"/>
                <a:gd name="connsiteX12" fmla="*/ 224504 w 496815"/>
                <a:gd name="connsiteY12" fmla="*/ 414467 h 580600"/>
                <a:gd name="connsiteX13" fmla="*/ 294733 w 496815"/>
                <a:gd name="connsiteY13" fmla="*/ 547403 h 580600"/>
                <a:gd name="connsiteX14" fmla="*/ 348364 w 496815"/>
                <a:gd name="connsiteY14" fmla="*/ 580601 h 580600"/>
                <a:gd name="connsiteX15" fmla="*/ 348400 w 496815"/>
                <a:gd name="connsiteY15" fmla="*/ 580601 h 580600"/>
                <a:gd name="connsiteX16" fmla="*/ 395775 w 496815"/>
                <a:gd name="connsiteY16" fmla="*/ 548379 h 580600"/>
                <a:gd name="connsiteX17" fmla="*/ 478228 w 496815"/>
                <a:gd name="connsiteY17" fmla="*/ 317658 h 580600"/>
                <a:gd name="connsiteX18" fmla="*/ 496816 w 496815"/>
                <a:gd name="connsiteY18" fmla="*/ 136227 h 580600"/>
                <a:gd name="connsiteX19" fmla="*/ 492982 w 496815"/>
                <a:gd name="connsiteY19" fmla="*/ 69144 h 580600"/>
                <a:gd name="connsiteX20" fmla="*/ 148235 w 496815"/>
                <a:gd name="connsiteY20" fmla="*/ 462419 h 580600"/>
                <a:gd name="connsiteX21" fmla="*/ 135722 w 496815"/>
                <a:gd name="connsiteY21" fmla="*/ 463721 h 580600"/>
                <a:gd name="connsiteX22" fmla="*/ 60104 w 496815"/>
                <a:gd name="connsiteY22" fmla="*/ 399387 h 580600"/>
                <a:gd name="connsiteX23" fmla="*/ 58621 w 496815"/>
                <a:gd name="connsiteY23" fmla="*/ 382932 h 580600"/>
                <a:gd name="connsiteX24" fmla="*/ 111854 w 496815"/>
                <a:gd name="connsiteY24" fmla="*/ 307351 h 580600"/>
                <a:gd name="connsiteX25" fmla="*/ 129755 w 496815"/>
                <a:gd name="connsiteY25" fmla="*/ 304494 h 580600"/>
                <a:gd name="connsiteX26" fmla="*/ 215065 w 496815"/>
                <a:gd name="connsiteY26" fmla="*/ 391648 h 580600"/>
                <a:gd name="connsiteX27" fmla="*/ 148235 w 496815"/>
                <a:gd name="connsiteY27" fmla="*/ 462419 h 580600"/>
                <a:gd name="connsiteX28" fmla="*/ 434723 w 496815"/>
                <a:gd name="connsiteY28" fmla="*/ 370890 h 580600"/>
                <a:gd name="connsiteX29" fmla="*/ 372268 w 496815"/>
                <a:gd name="connsiteY29" fmla="*/ 411610 h 580600"/>
                <a:gd name="connsiteX30" fmla="*/ 368326 w 496815"/>
                <a:gd name="connsiteY30" fmla="*/ 411429 h 580600"/>
                <a:gd name="connsiteX31" fmla="*/ 270178 w 496815"/>
                <a:gd name="connsiteY31" fmla="*/ 319032 h 580600"/>
                <a:gd name="connsiteX32" fmla="*/ 321314 w 496815"/>
                <a:gd name="connsiteY32" fmla="*/ 217920 h 580600"/>
                <a:gd name="connsiteX33" fmla="*/ 363336 w 496815"/>
                <a:gd name="connsiteY33" fmla="*/ 171884 h 580600"/>
                <a:gd name="connsiteX34" fmla="*/ 397691 w 496815"/>
                <a:gd name="connsiteY34" fmla="*/ 156551 h 580600"/>
                <a:gd name="connsiteX35" fmla="*/ 416533 w 496815"/>
                <a:gd name="connsiteY35" fmla="*/ 157057 h 580600"/>
                <a:gd name="connsiteX36" fmla="*/ 450743 w 496815"/>
                <a:gd name="connsiteY36" fmla="*/ 182697 h 580600"/>
                <a:gd name="connsiteX37" fmla="*/ 466908 w 496815"/>
                <a:gd name="connsiteY37" fmla="*/ 241751 h 580600"/>
                <a:gd name="connsiteX38" fmla="*/ 434723 w 496815"/>
                <a:gd name="connsiteY38" fmla="*/ 370890 h 58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6815" h="580600">
                  <a:moveTo>
                    <a:pt x="492982" y="69144"/>
                  </a:moveTo>
                  <a:cubicBezTo>
                    <a:pt x="490089" y="47193"/>
                    <a:pt x="484520" y="30088"/>
                    <a:pt x="476636" y="18299"/>
                  </a:cubicBezTo>
                  <a:cubicBezTo>
                    <a:pt x="468789" y="6509"/>
                    <a:pt x="459495" y="0"/>
                    <a:pt x="446404" y="0"/>
                  </a:cubicBezTo>
                  <a:cubicBezTo>
                    <a:pt x="428213" y="0"/>
                    <a:pt x="408468" y="12585"/>
                    <a:pt x="385396" y="44264"/>
                  </a:cubicBezTo>
                  <a:cubicBezTo>
                    <a:pt x="348473" y="95037"/>
                    <a:pt x="305221" y="187253"/>
                    <a:pt x="258317" y="298527"/>
                  </a:cubicBezTo>
                  <a:cubicBezTo>
                    <a:pt x="239439" y="267970"/>
                    <a:pt x="198394" y="223236"/>
                    <a:pt x="136699" y="223199"/>
                  </a:cubicBezTo>
                  <a:cubicBezTo>
                    <a:pt x="121474" y="223199"/>
                    <a:pt x="105200" y="226056"/>
                    <a:pt x="87986" y="232638"/>
                  </a:cubicBezTo>
                  <a:cubicBezTo>
                    <a:pt x="22060" y="257808"/>
                    <a:pt x="-36" y="318743"/>
                    <a:pt x="0" y="359752"/>
                  </a:cubicBezTo>
                  <a:cubicBezTo>
                    <a:pt x="0" y="429475"/>
                    <a:pt x="52799" y="487191"/>
                    <a:pt x="116302" y="488457"/>
                  </a:cubicBezTo>
                  <a:cubicBezTo>
                    <a:pt x="116989" y="488493"/>
                    <a:pt x="117676" y="488493"/>
                    <a:pt x="118364" y="488493"/>
                  </a:cubicBezTo>
                  <a:cubicBezTo>
                    <a:pt x="135541" y="488493"/>
                    <a:pt x="154527" y="483575"/>
                    <a:pt x="169463" y="475474"/>
                  </a:cubicBezTo>
                  <a:cubicBezTo>
                    <a:pt x="182662" y="468314"/>
                    <a:pt x="193801" y="458622"/>
                    <a:pt x="202444" y="448062"/>
                  </a:cubicBezTo>
                  <a:cubicBezTo>
                    <a:pt x="212714" y="435550"/>
                    <a:pt x="219839" y="423363"/>
                    <a:pt x="224504" y="414467"/>
                  </a:cubicBezTo>
                  <a:cubicBezTo>
                    <a:pt x="250433" y="476631"/>
                    <a:pt x="275748" y="523499"/>
                    <a:pt x="294733" y="547403"/>
                  </a:cubicBezTo>
                  <a:cubicBezTo>
                    <a:pt x="311875" y="568848"/>
                    <a:pt x="330210" y="580601"/>
                    <a:pt x="348364" y="580601"/>
                  </a:cubicBezTo>
                  <a:lnTo>
                    <a:pt x="348400" y="580601"/>
                  </a:lnTo>
                  <a:cubicBezTo>
                    <a:pt x="365578" y="580601"/>
                    <a:pt x="381924" y="569896"/>
                    <a:pt x="395775" y="548379"/>
                  </a:cubicBezTo>
                  <a:cubicBezTo>
                    <a:pt x="433421" y="490120"/>
                    <a:pt x="459423" y="402135"/>
                    <a:pt x="478228" y="317658"/>
                  </a:cubicBezTo>
                  <a:cubicBezTo>
                    <a:pt x="489330" y="267680"/>
                    <a:pt x="496816" y="197632"/>
                    <a:pt x="496816" y="136227"/>
                  </a:cubicBezTo>
                  <a:cubicBezTo>
                    <a:pt x="496780" y="111925"/>
                    <a:pt x="495586" y="88962"/>
                    <a:pt x="492982" y="69144"/>
                  </a:cubicBezTo>
                  <a:close/>
                  <a:moveTo>
                    <a:pt x="148235" y="462419"/>
                  </a:moveTo>
                  <a:cubicBezTo>
                    <a:pt x="144293" y="463251"/>
                    <a:pt x="140098" y="463721"/>
                    <a:pt x="135722" y="463721"/>
                  </a:cubicBezTo>
                  <a:cubicBezTo>
                    <a:pt x="105562" y="463685"/>
                    <a:pt x="68096" y="442746"/>
                    <a:pt x="60104" y="399387"/>
                  </a:cubicBezTo>
                  <a:cubicBezTo>
                    <a:pt x="59128" y="394035"/>
                    <a:pt x="58621" y="388502"/>
                    <a:pt x="58621" y="382932"/>
                  </a:cubicBezTo>
                  <a:cubicBezTo>
                    <a:pt x="58657" y="351651"/>
                    <a:pt x="74533" y="319285"/>
                    <a:pt x="111854" y="307351"/>
                  </a:cubicBezTo>
                  <a:cubicBezTo>
                    <a:pt x="117966" y="305398"/>
                    <a:pt x="123933" y="304494"/>
                    <a:pt x="129755" y="304494"/>
                  </a:cubicBezTo>
                  <a:cubicBezTo>
                    <a:pt x="163966" y="304494"/>
                    <a:pt x="195573" y="338090"/>
                    <a:pt x="215065" y="391648"/>
                  </a:cubicBezTo>
                  <a:cubicBezTo>
                    <a:pt x="205446" y="414792"/>
                    <a:pt x="182409" y="455150"/>
                    <a:pt x="148235" y="462419"/>
                  </a:cubicBezTo>
                  <a:close/>
                  <a:moveTo>
                    <a:pt x="434723" y="370890"/>
                  </a:moveTo>
                  <a:cubicBezTo>
                    <a:pt x="417690" y="396566"/>
                    <a:pt x="392628" y="411610"/>
                    <a:pt x="372268" y="411610"/>
                  </a:cubicBezTo>
                  <a:cubicBezTo>
                    <a:pt x="370966" y="411610"/>
                    <a:pt x="369665" y="411574"/>
                    <a:pt x="368326" y="411429"/>
                  </a:cubicBezTo>
                  <a:cubicBezTo>
                    <a:pt x="319433" y="407089"/>
                    <a:pt x="282799" y="341489"/>
                    <a:pt x="270178" y="319032"/>
                  </a:cubicBezTo>
                  <a:cubicBezTo>
                    <a:pt x="288730" y="272671"/>
                    <a:pt x="303919" y="243306"/>
                    <a:pt x="321314" y="217920"/>
                  </a:cubicBezTo>
                  <a:cubicBezTo>
                    <a:pt x="336069" y="196366"/>
                    <a:pt x="350498" y="181431"/>
                    <a:pt x="363336" y="171884"/>
                  </a:cubicBezTo>
                  <a:cubicBezTo>
                    <a:pt x="375740" y="162662"/>
                    <a:pt x="387168" y="157997"/>
                    <a:pt x="397691" y="156551"/>
                  </a:cubicBezTo>
                  <a:cubicBezTo>
                    <a:pt x="404526" y="155574"/>
                    <a:pt x="410855" y="155791"/>
                    <a:pt x="416533" y="157057"/>
                  </a:cubicBezTo>
                  <a:cubicBezTo>
                    <a:pt x="431287" y="160384"/>
                    <a:pt x="443077" y="170871"/>
                    <a:pt x="450743" y="182697"/>
                  </a:cubicBezTo>
                  <a:cubicBezTo>
                    <a:pt x="461231" y="198862"/>
                    <a:pt x="466908" y="220487"/>
                    <a:pt x="466908" y="241751"/>
                  </a:cubicBezTo>
                  <a:cubicBezTo>
                    <a:pt x="466945" y="299612"/>
                    <a:pt x="453311" y="342900"/>
                    <a:pt x="434723" y="370890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009C99BD-2950-4F46-87E5-AF9FF51B7F8F}"/>
                </a:ext>
              </a:extLst>
            </p:cNvPr>
            <p:cNvSpPr/>
            <p:nvPr/>
          </p:nvSpPr>
          <p:spPr>
            <a:xfrm>
              <a:off x="10082568" y="6017611"/>
              <a:ext cx="202805" cy="211699"/>
            </a:xfrm>
            <a:custGeom>
              <a:avLst/>
              <a:gdLst>
                <a:gd name="connsiteX0" fmla="*/ 170331 w 202805"/>
                <a:gd name="connsiteY0" fmla="*/ 180744 h 211699"/>
                <a:gd name="connsiteX1" fmla="*/ 167727 w 202805"/>
                <a:gd name="connsiteY1" fmla="*/ 106067 h 211699"/>
                <a:gd name="connsiteX2" fmla="*/ 167727 w 202805"/>
                <a:gd name="connsiteY2" fmla="*/ 57861 h 211699"/>
                <a:gd name="connsiteX3" fmla="*/ 94134 w 202805"/>
                <a:gd name="connsiteY3" fmla="*/ 0 h 211699"/>
                <a:gd name="connsiteX4" fmla="*/ 14610 w 202805"/>
                <a:gd name="connsiteY4" fmla="*/ 27629 h 211699"/>
                <a:gd name="connsiteX5" fmla="*/ 20215 w 202805"/>
                <a:gd name="connsiteY5" fmla="*/ 42202 h 211699"/>
                <a:gd name="connsiteX6" fmla="*/ 71387 w 202805"/>
                <a:gd name="connsiteY6" fmla="*/ 34391 h 211699"/>
                <a:gd name="connsiteX7" fmla="*/ 117315 w 202805"/>
                <a:gd name="connsiteY7" fmla="*/ 69433 h 211699"/>
                <a:gd name="connsiteX8" fmla="*/ 117315 w 202805"/>
                <a:gd name="connsiteY8" fmla="*/ 93844 h 211699"/>
                <a:gd name="connsiteX9" fmla="*/ 84406 w 202805"/>
                <a:gd name="connsiteY9" fmla="*/ 97568 h 211699"/>
                <a:gd name="connsiteX10" fmla="*/ 0 w 202805"/>
                <a:gd name="connsiteY10" fmla="*/ 164181 h 211699"/>
                <a:gd name="connsiteX11" fmla="*/ 50810 w 202805"/>
                <a:gd name="connsiteY11" fmla="*/ 211700 h 211699"/>
                <a:gd name="connsiteX12" fmla="*/ 118002 w 202805"/>
                <a:gd name="connsiteY12" fmla="*/ 176585 h 211699"/>
                <a:gd name="connsiteX13" fmla="*/ 153912 w 202805"/>
                <a:gd name="connsiteY13" fmla="*/ 211338 h 211699"/>
                <a:gd name="connsiteX14" fmla="*/ 202805 w 202805"/>
                <a:gd name="connsiteY14" fmla="*/ 190797 h 211699"/>
                <a:gd name="connsiteX15" fmla="*/ 201323 w 202805"/>
                <a:gd name="connsiteY15" fmla="*/ 180708 h 211699"/>
                <a:gd name="connsiteX16" fmla="*/ 170331 w 202805"/>
                <a:gd name="connsiteY16" fmla="*/ 180708 h 211699"/>
                <a:gd name="connsiteX17" fmla="*/ 117315 w 202805"/>
                <a:gd name="connsiteY17" fmla="*/ 165447 h 211699"/>
                <a:gd name="connsiteX18" fmla="*/ 76595 w 202805"/>
                <a:gd name="connsiteY18" fmla="*/ 175898 h 211699"/>
                <a:gd name="connsiteX19" fmla="*/ 51208 w 202805"/>
                <a:gd name="connsiteY19" fmla="*/ 149643 h 211699"/>
                <a:gd name="connsiteX20" fmla="*/ 94134 w 202805"/>
                <a:gd name="connsiteY20" fmla="*/ 114782 h 211699"/>
                <a:gd name="connsiteX21" fmla="*/ 117315 w 202805"/>
                <a:gd name="connsiteY21" fmla="*/ 110659 h 211699"/>
                <a:gd name="connsiteX22" fmla="*/ 117315 w 202805"/>
                <a:gd name="connsiteY22" fmla="*/ 165447 h 21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02805" h="211699">
                  <a:moveTo>
                    <a:pt x="170331" y="180744"/>
                  </a:moveTo>
                  <a:lnTo>
                    <a:pt x="167727" y="106067"/>
                  </a:lnTo>
                  <a:lnTo>
                    <a:pt x="167727" y="57861"/>
                  </a:lnTo>
                  <a:cubicBezTo>
                    <a:pt x="167727" y="6726"/>
                    <a:pt x="124764" y="0"/>
                    <a:pt x="94134" y="0"/>
                  </a:cubicBezTo>
                  <a:cubicBezTo>
                    <a:pt x="62021" y="0"/>
                    <a:pt x="29871" y="16816"/>
                    <a:pt x="14610" y="27629"/>
                  </a:cubicBezTo>
                  <a:lnTo>
                    <a:pt x="20215" y="42202"/>
                  </a:lnTo>
                  <a:cubicBezTo>
                    <a:pt x="39635" y="36959"/>
                    <a:pt x="57934" y="34391"/>
                    <a:pt x="71387" y="34391"/>
                  </a:cubicBezTo>
                  <a:cubicBezTo>
                    <a:pt x="102018" y="34391"/>
                    <a:pt x="117315" y="44047"/>
                    <a:pt x="117315" y="69433"/>
                  </a:cubicBezTo>
                  <a:lnTo>
                    <a:pt x="117315" y="93844"/>
                  </a:lnTo>
                  <a:lnTo>
                    <a:pt x="84406" y="97568"/>
                  </a:lnTo>
                  <a:cubicBezTo>
                    <a:pt x="44120" y="102414"/>
                    <a:pt x="0" y="115071"/>
                    <a:pt x="0" y="164181"/>
                  </a:cubicBezTo>
                  <a:cubicBezTo>
                    <a:pt x="0" y="190327"/>
                    <a:pt x="19456" y="211700"/>
                    <a:pt x="50810" y="211700"/>
                  </a:cubicBezTo>
                  <a:cubicBezTo>
                    <a:pt x="83285" y="211700"/>
                    <a:pt x="104585" y="193039"/>
                    <a:pt x="118002" y="176585"/>
                  </a:cubicBezTo>
                  <a:cubicBezTo>
                    <a:pt x="119485" y="198247"/>
                    <a:pt x="126609" y="211338"/>
                    <a:pt x="153912" y="211338"/>
                  </a:cubicBezTo>
                  <a:cubicBezTo>
                    <a:pt x="168450" y="211338"/>
                    <a:pt x="191233" y="201610"/>
                    <a:pt x="202805" y="190797"/>
                  </a:cubicBezTo>
                  <a:lnTo>
                    <a:pt x="201323" y="180708"/>
                  </a:lnTo>
                  <a:lnTo>
                    <a:pt x="170331" y="180708"/>
                  </a:lnTo>
                  <a:close/>
                  <a:moveTo>
                    <a:pt x="117315" y="165447"/>
                  </a:moveTo>
                  <a:cubicBezTo>
                    <a:pt x="105345" y="171052"/>
                    <a:pt x="92290" y="175898"/>
                    <a:pt x="76595" y="175898"/>
                  </a:cubicBezTo>
                  <a:cubicBezTo>
                    <a:pt x="60900" y="175898"/>
                    <a:pt x="51208" y="165483"/>
                    <a:pt x="51208" y="149643"/>
                  </a:cubicBezTo>
                  <a:cubicBezTo>
                    <a:pt x="51208" y="129501"/>
                    <a:pt x="70591" y="118471"/>
                    <a:pt x="94134" y="114782"/>
                  </a:cubicBezTo>
                  <a:lnTo>
                    <a:pt x="117315" y="110659"/>
                  </a:lnTo>
                  <a:lnTo>
                    <a:pt x="117315" y="165447"/>
                  </a:ln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DA97B42-4E42-48D9-AF2E-B86C51A9F519}"/>
                </a:ext>
              </a:extLst>
            </p:cNvPr>
            <p:cNvSpPr/>
            <p:nvPr/>
          </p:nvSpPr>
          <p:spPr>
            <a:xfrm>
              <a:off x="11160280" y="6017286"/>
              <a:ext cx="155214" cy="212133"/>
            </a:xfrm>
            <a:custGeom>
              <a:avLst/>
              <a:gdLst>
                <a:gd name="connsiteX0" fmla="*/ 43830 w 155214"/>
                <a:gd name="connsiteY0" fmla="*/ 45132 h 212133"/>
                <a:gd name="connsiteX1" fmla="*/ 75184 w 155214"/>
                <a:gd name="connsiteY1" fmla="*/ 21228 h 212133"/>
                <a:gd name="connsiteX2" fmla="*/ 125162 w 155214"/>
                <a:gd name="connsiteY2" fmla="*/ 64190 h 212133"/>
                <a:gd name="connsiteX3" fmla="*/ 137494 w 155214"/>
                <a:gd name="connsiteY3" fmla="*/ 65311 h 212133"/>
                <a:gd name="connsiteX4" fmla="*/ 143823 w 155214"/>
                <a:gd name="connsiteY4" fmla="*/ 15659 h 212133"/>
                <a:gd name="connsiteX5" fmla="*/ 78945 w 155214"/>
                <a:gd name="connsiteY5" fmla="*/ 0 h 212133"/>
                <a:gd name="connsiteX6" fmla="*/ 181 w 155214"/>
                <a:gd name="connsiteY6" fmla="*/ 63864 h 212133"/>
                <a:gd name="connsiteX7" fmla="*/ 105562 w 155214"/>
                <a:gd name="connsiteY7" fmla="*/ 163566 h 212133"/>
                <a:gd name="connsiteX8" fmla="*/ 70700 w 155214"/>
                <a:gd name="connsiteY8" fmla="*/ 190472 h 212133"/>
                <a:gd name="connsiteX9" fmla="*/ 17901 w 155214"/>
                <a:gd name="connsiteY9" fmla="*/ 141181 h 212133"/>
                <a:gd name="connsiteX10" fmla="*/ 3363 w 155214"/>
                <a:gd name="connsiteY10" fmla="*/ 140820 h 212133"/>
                <a:gd name="connsiteX11" fmla="*/ 0 w 155214"/>
                <a:gd name="connsiteY11" fmla="*/ 196113 h 212133"/>
                <a:gd name="connsiteX12" fmla="*/ 69977 w 155214"/>
                <a:gd name="connsiteY12" fmla="*/ 212134 h 212133"/>
                <a:gd name="connsiteX13" fmla="*/ 155214 w 155214"/>
                <a:gd name="connsiteY13" fmla="*/ 144978 h 212133"/>
                <a:gd name="connsiteX14" fmla="*/ 43830 w 155214"/>
                <a:gd name="connsiteY14" fmla="*/ 45132 h 212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5214" h="212133">
                  <a:moveTo>
                    <a:pt x="43830" y="45132"/>
                  </a:moveTo>
                  <a:cubicBezTo>
                    <a:pt x="43830" y="30594"/>
                    <a:pt x="55041" y="21228"/>
                    <a:pt x="75184" y="21228"/>
                  </a:cubicBezTo>
                  <a:cubicBezTo>
                    <a:pt x="111854" y="21228"/>
                    <a:pt x="119919" y="41407"/>
                    <a:pt x="125162" y="64190"/>
                  </a:cubicBezTo>
                  <a:lnTo>
                    <a:pt x="137494" y="65311"/>
                  </a:lnTo>
                  <a:lnTo>
                    <a:pt x="143823" y="15659"/>
                  </a:lnTo>
                  <a:cubicBezTo>
                    <a:pt x="121835" y="4448"/>
                    <a:pt x="102994" y="0"/>
                    <a:pt x="78945" y="0"/>
                  </a:cubicBezTo>
                  <a:cubicBezTo>
                    <a:pt x="37140" y="0"/>
                    <a:pt x="181" y="24989"/>
                    <a:pt x="181" y="63864"/>
                  </a:cubicBezTo>
                  <a:cubicBezTo>
                    <a:pt x="181" y="133659"/>
                    <a:pt x="105562" y="128813"/>
                    <a:pt x="105562" y="163566"/>
                  </a:cubicBezTo>
                  <a:cubicBezTo>
                    <a:pt x="105562" y="180744"/>
                    <a:pt x="91277" y="190472"/>
                    <a:pt x="70700" y="190472"/>
                  </a:cubicBezTo>
                  <a:cubicBezTo>
                    <a:pt x="41733" y="190472"/>
                    <a:pt x="22747" y="170293"/>
                    <a:pt x="17901" y="141181"/>
                  </a:cubicBezTo>
                  <a:lnTo>
                    <a:pt x="3363" y="140820"/>
                  </a:lnTo>
                  <a:lnTo>
                    <a:pt x="0" y="196113"/>
                  </a:lnTo>
                  <a:cubicBezTo>
                    <a:pt x="22385" y="206167"/>
                    <a:pt x="43650" y="212134"/>
                    <a:pt x="69977" y="212134"/>
                  </a:cubicBezTo>
                  <a:cubicBezTo>
                    <a:pt x="108455" y="212134"/>
                    <a:pt x="155214" y="193907"/>
                    <a:pt x="155214" y="144978"/>
                  </a:cubicBezTo>
                  <a:cubicBezTo>
                    <a:pt x="155214" y="80246"/>
                    <a:pt x="43830" y="85128"/>
                    <a:pt x="43830" y="45132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B3DB7BE8-0225-4761-9CBC-10F4CBC9E77F}"/>
                </a:ext>
              </a:extLst>
            </p:cNvPr>
            <p:cNvSpPr/>
            <p:nvPr/>
          </p:nvSpPr>
          <p:spPr>
            <a:xfrm>
              <a:off x="11042097" y="5913425"/>
              <a:ext cx="60140" cy="60103"/>
            </a:xfrm>
            <a:custGeom>
              <a:avLst/>
              <a:gdLst>
                <a:gd name="connsiteX0" fmla="*/ 30124 w 60140"/>
                <a:gd name="connsiteY0" fmla="*/ 60103 h 60103"/>
                <a:gd name="connsiteX1" fmla="*/ 60140 w 60140"/>
                <a:gd name="connsiteY1" fmla="*/ 30052 h 60103"/>
                <a:gd name="connsiteX2" fmla="*/ 30124 w 60140"/>
                <a:gd name="connsiteY2" fmla="*/ 0 h 60103"/>
                <a:gd name="connsiteX3" fmla="*/ 0 w 60140"/>
                <a:gd name="connsiteY3" fmla="*/ 30052 h 60103"/>
                <a:gd name="connsiteX4" fmla="*/ 30124 w 60140"/>
                <a:gd name="connsiteY4" fmla="*/ 60103 h 60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40" h="60103">
                  <a:moveTo>
                    <a:pt x="30124" y="60103"/>
                  </a:moveTo>
                  <a:cubicBezTo>
                    <a:pt x="46760" y="60103"/>
                    <a:pt x="60140" y="46651"/>
                    <a:pt x="60140" y="30052"/>
                  </a:cubicBezTo>
                  <a:cubicBezTo>
                    <a:pt x="60140" y="13453"/>
                    <a:pt x="46723" y="0"/>
                    <a:pt x="30124" y="0"/>
                  </a:cubicBezTo>
                  <a:cubicBezTo>
                    <a:pt x="13525" y="0"/>
                    <a:pt x="0" y="13453"/>
                    <a:pt x="0" y="30052"/>
                  </a:cubicBezTo>
                  <a:cubicBezTo>
                    <a:pt x="36" y="46651"/>
                    <a:pt x="13525" y="60103"/>
                    <a:pt x="30124" y="60103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7EC0E7A2-8FB5-44A9-A207-DD7099D150D7}"/>
                </a:ext>
              </a:extLst>
            </p:cNvPr>
            <p:cNvSpPr/>
            <p:nvPr/>
          </p:nvSpPr>
          <p:spPr>
            <a:xfrm>
              <a:off x="11348475" y="6016888"/>
              <a:ext cx="188376" cy="212458"/>
            </a:xfrm>
            <a:custGeom>
              <a:avLst/>
              <a:gdLst>
                <a:gd name="connsiteX0" fmla="*/ 188340 w 188376"/>
                <a:gd name="connsiteY0" fmla="*/ 97460 h 212458"/>
                <a:gd name="connsiteX1" fmla="*/ 104296 w 188376"/>
                <a:gd name="connsiteY1" fmla="*/ 0 h 212458"/>
                <a:gd name="connsiteX2" fmla="*/ 0 w 188376"/>
                <a:gd name="connsiteY2" fmla="*/ 113046 h 212458"/>
                <a:gd name="connsiteX3" fmla="*/ 104693 w 188376"/>
                <a:gd name="connsiteY3" fmla="*/ 212459 h 212458"/>
                <a:gd name="connsiteX4" fmla="*/ 185736 w 188376"/>
                <a:gd name="connsiteY4" fmla="*/ 178863 h 212458"/>
                <a:gd name="connsiteX5" fmla="*/ 180167 w 188376"/>
                <a:gd name="connsiteY5" fmla="*/ 166206 h 212458"/>
                <a:gd name="connsiteX6" fmla="*/ 123354 w 188376"/>
                <a:gd name="connsiteY6" fmla="*/ 173873 h 212458"/>
                <a:gd name="connsiteX7" fmla="*/ 53197 w 188376"/>
                <a:gd name="connsiteY7" fmla="*/ 106428 h 212458"/>
                <a:gd name="connsiteX8" fmla="*/ 188376 w 188376"/>
                <a:gd name="connsiteY8" fmla="*/ 106428 h 212458"/>
                <a:gd name="connsiteX9" fmla="*/ 188376 w 188376"/>
                <a:gd name="connsiteY9" fmla="*/ 97460 h 212458"/>
                <a:gd name="connsiteX10" fmla="*/ 52799 w 188376"/>
                <a:gd name="connsiteY10" fmla="*/ 86213 h 212458"/>
                <a:gd name="connsiteX11" fmla="*/ 95761 w 188376"/>
                <a:gd name="connsiteY11" fmla="*/ 21987 h 212458"/>
                <a:gd name="connsiteX12" fmla="*/ 133842 w 188376"/>
                <a:gd name="connsiteY12" fmla="*/ 86213 h 212458"/>
                <a:gd name="connsiteX13" fmla="*/ 52799 w 188376"/>
                <a:gd name="connsiteY13" fmla="*/ 86213 h 212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376" h="212458">
                  <a:moveTo>
                    <a:pt x="188340" y="97460"/>
                  </a:moveTo>
                  <a:cubicBezTo>
                    <a:pt x="188340" y="44408"/>
                    <a:pt x="162953" y="0"/>
                    <a:pt x="104296" y="0"/>
                  </a:cubicBezTo>
                  <a:cubicBezTo>
                    <a:pt x="42275" y="0"/>
                    <a:pt x="0" y="54028"/>
                    <a:pt x="0" y="113046"/>
                  </a:cubicBezTo>
                  <a:cubicBezTo>
                    <a:pt x="0" y="173764"/>
                    <a:pt x="37104" y="212459"/>
                    <a:pt x="104693" y="212459"/>
                  </a:cubicBezTo>
                  <a:cubicBezTo>
                    <a:pt x="139447" y="212459"/>
                    <a:pt x="169680" y="197921"/>
                    <a:pt x="185736" y="178863"/>
                  </a:cubicBezTo>
                  <a:lnTo>
                    <a:pt x="180167" y="166206"/>
                  </a:lnTo>
                  <a:cubicBezTo>
                    <a:pt x="157746" y="171414"/>
                    <a:pt x="137205" y="173873"/>
                    <a:pt x="123354" y="173873"/>
                  </a:cubicBezTo>
                  <a:cubicBezTo>
                    <a:pt x="84153" y="173873"/>
                    <a:pt x="56560" y="157202"/>
                    <a:pt x="53197" y="106428"/>
                  </a:cubicBezTo>
                  <a:lnTo>
                    <a:pt x="188376" y="106428"/>
                  </a:lnTo>
                  <a:lnTo>
                    <a:pt x="188376" y="97460"/>
                  </a:lnTo>
                  <a:close/>
                  <a:moveTo>
                    <a:pt x="52799" y="86213"/>
                  </a:moveTo>
                  <a:cubicBezTo>
                    <a:pt x="53920" y="42166"/>
                    <a:pt x="71857" y="21987"/>
                    <a:pt x="95761" y="21987"/>
                  </a:cubicBezTo>
                  <a:cubicBezTo>
                    <a:pt x="123354" y="21987"/>
                    <a:pt x="133842" y="48495"/>
                    <a:pt x="133842" y="86213"/>
                  </a:cubicBezTo>
                  <a:lnTo>
                    <a:pt x="52799" y="86213"/>
                  </a:ln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FF547DE-CF01-4B39-B331-C5FD81AED6F0}"/>
                </a:ext>
              </a:extLst>
            </p:cNvPr>
            <p:cNvSpPr/>
            <p:nvPr/>
          </p:nvSpPr>
          <p:spPr>
            <a:xfrm>
              <a:off x="11013166" y="6018009"/>
              <a:ext cx="119918" cy="207974"/>
            </a:xfrm>
            <a:custGeom>
              <a:avLst/>
              <a:gdLst>
                <a:gd name="connsiteX0" fmla="*/ 85925 w 119918"/>
                <a:gd name="connsiteY0" fmla="*/ 174741 h 207974"/>
                <a:gd name="connsiteX1" fmla="*/ 85165 w 119918"/>
                <a:gd name="connsiteY1" fmla="*/ 106031 h 207974"/>
                <a:gd name="connsiteX2" fmla="*/ 85165 w 119918"/>
                <a:gd name="connsiteY2" fmla="*/ 16418 h 207974"/>
                <a:gd name="connsiteX3" fmla="*/ 67626 w 119918"/>
                <a:gd name="connsiteY3" fmla="*/ 0 h 207974"/>
                <a:gd name="connsiteX4" fmla="*/ 0 w 119918"/>
                <a:gd name="connsiteY4" fmla="*/ 8209 h 207974"/>
                <a:gd name="connsiteX5" fmla="*/ 0 w 119918"/>
                <a:gd name="connsiteY5" fmla="*/ 25387 h 207974"/>
                <a:gd name="connsiteX6" fmla="*/ 34355 w 119918"/>
                <a:gd name="connsiteY6" fmla="*/ 25387 h 207974"/>
                <a:gd name="connsiteX7" fmla="*/ 34355 w 119918"/>
                <a:gd name="connsiteY7" fmla="*/ 106031 h 207974"/>
                <a:gd name="connsiteX8" fmla="*/ 33271 w 119918"/>
                <a:gd name="connsiteY8" fmla="*/ 172137 h 207974"/>
                <a:gd name="connsiteX9" fmla="*/ 23181 w 119918"/>
                <a:gd name="connsiteY9" fmla="*/ 188953 h 207974"/>
                <a:gd name="connsiteX10" fmla="*/ 398 w 119918"/>
                <a:gd name="connsiteY10" fmla="*/ 196041 h 207974"/>
                <a:gd name="connsiteX11" fmla="*/ 1881 w 119918"/>
                <a:gd name="connsiteY11" fmla="*/ 207975 h 207974"/>
                <a:gd name="connsiteX12" fmla="*/ 117676 w 119918"/>
                <a:gd name="connsiteY12" fmla="*/ 207975 h 207974"/>
                <a:gd name="connsiteX13" fmla="*/ 119919 w 119918"/>
                <a:gd name="connsiteY13" fmla="*/ 194884 h 207974"/>
                <a:gd name="connsiteX14" fmla="*/ 92253 w 119918"/>
                <a:gd name="connsiteY14" fmla="*/ 188193 h 207974"/>
                <a:gd name="connsiteX15" fmla="*/ 85925 w 119918"/>
                <a:gd name="connsiteY15" fmla="*/ 174741 h 20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918" h="207974">
                  <a:moveTo>
                    <a:pt x="85925" y="174741"/>
                  </a:moveTo>
                  <a:lnTo>
                    <a:pt x="85165" y="106031"/>
                  </a:lnTo>
                  <a:lnTo>
                    <a:pt x="85165" y="16418"/>
                  </a:lnTo>
                  <a:cubicBezTo>
                    <a:pt x="85165" y="3327"/>
                    <a:pt x="79198" y="0"/>
                    <a:pt x="67626" y="0"/>
                  </a:cubicBezTo>
                  <a:cubicBezTo>
                    <a:pt x="49689" y="0"/>
                    <a:pt x="20179" y="3725"/>
                    <a:pt x="0" y="8209"/>
                  </a:cubicBezTo>
                  <a:lnTo>
                    <a:pt x="0" y="25387"/>
                  </a:lnTo>
                  <a:lnTo>
                    <a:pt x="34355" y="25387"/>
                  </a:lnTo>
                  <a:lnTo>
                    <a:pt x="34355" y="106031"/>
                  </a:lnTo>
                  <a:lnTo>
                    <a:pt x="33271" y="172137"/>
                  </a:lnTo>
                  <a:cubicBezTo>
                    <a:pt x="33271" y="180382"/>
                    <a:pt x="29907" y="186711"/>
                    <a:pt x="23181" y="188953"/>
                  </a:cubicBezTo>
                  <a:lnTo>
                    <a:pt x="398" y="196041"/>
                  </a:lnTo>
                  <a:cubicBezTo>
                    <a:pt x="398" y="200887"/>
                    <a:pt x="1157" y="203129"/>
                    <a:pt x="1881" y="207975"/>
                  </a:cubicBezTo>
                  <a:lnTo>
                    <a:pt x="117676" y="207975"/>
                  </a:lnTo>
                  <a:cubicBezTo>
                    <a:pt x="119557" y="203129"/>
                    <a:pt x="119919" y="198645"/>
                    <a:pt x="119919" y="194884"/>
                  </a:cubicBezTo>
                  <a:lnTo>
                    <a:pt x="92253" y="188193"/>
                  </a:lnTo>
                  <a:cubicBezTo>
                    <a:pt x="88203" y="187072"/>
                    <a:pt x="85925" y="184469"/>
                    <a:pt x="85925" y="174741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D1AEA75C-45CE-449B-8A8E-1DBE8E8E09E5}"/>
                </a:ext>
              </a:extLst>
            </p:cNvPr>
            <p:cNvSpPr/>
            <p:nvPr/>
          </p:nvSpPr>
          <p:spPr>
            <a:xfrm>
              <a:off x="10787614" y="6017611"/>
              <a:ext cx="202407" cy="211699"/>
            </a:xfrm>
            <a:custGeom>
              <a:avLst/>
              <a:gdLst>
                <a:gd name="connsiteX0" fmla="*/ 102343 w 202407"/>
                <a:gd name="connsiteY0" fmla="*/ 0 h 211699"/>
                <a:gd name="connsiteX1" fmla="*/ 0 w 202407"/>
                <a:gd name="connsiteY1" fmla="*/ 109792 h 211699"/>
                <a:gd name="connsiteX2" fmla="*/ 98980 w 202407"/>
                <a:gd name="connsiteY2" fmla="*/ 211700 h 211699"/>
                <a:gd name="connsiteX3" fmla="*/ 202408 w 202407"/>
                <a:gd name="connsiteY3" fmla="*/ 102306 h 211699"/>
                <a:gd name="connsiteX4" fmla="*/ 102343 w 202407"/>
                <a:gd name="connsiteY4" fmla="*/ 0 h 211699"/>
                <a:gd name="connsiteX5" fmla="*/ 104947 w 202407"/>
                <a:gd name="connsiteY5" fmla="*/ 187868 h 211699"/>
                <a:gd name="connsiteX6" fmla="*/ 54209 w 202407"/>
                <a:gd name="connsiteY6" fmla="*/ 102704 h 211699"/>
                <a:gd name="connsiteX7" fmla="*/ 99378 w 202407"/>
                <a:gd name="connsiteY7" fmla="*/ 23144 h 211699"/>
                <a:gd name="connsiteX8" fmla="*/ 147584 w 202407"/>
                <a:gd name="connsiteY8" fmla="*/ 109792 h 211699"/>
                <a:gd name="connsiteX9" fmla="*/ 104947 w 202407"/>
                <a:gd name="connsiteY9" fmla="*/ 187868 h 21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2407" h="211699">
                  <a:moveTo>
                    <a:pt x="102343" y="0"/>
                  </a:moveTo>
                  <a:cubicBezTo>
                    <a:pt x="45205" y="0"/>
                    <a:pt x="0" y="55257"/>
                    <a:pt x="0" y="109792"/>
                  </a:cubicBezTo>
                  <a:cubicBezTo>
                    <a:pt x="0" y="180744"/>
                    <a:pt x="37357" y="211700"/>
                    <a:pt x="98980" y="211700"/>
                  </a:cubicBezTo>
                  <a:cubicBezTo>
                    <a:pt x="157999" y="211700"/>
                    <a:pt x="202408" y="156442"/>
                    <a:pt x="202408" y="102306"/>
                  </a:cubicBezTo>
                  <a:cubicBezTo>
                    <a:pt x="202444" y="32511"/>
                    <a:pt x="168812" y="0"/>
                    <a:pt x="102343" y="0"/>
                  </a:cubicBezTo>
                  <a:close/>
                  <a:moveTo>
                    <a:pt x="104947" y="187868"/>
                  </a:moveTo>
                  <a:cubicBezTo>
                    <a:pt x="64624" y="187868"/>
                    <a:pt x="54209" y="146787"/>
                    <a:pt x="54209" y="102704"/>
                  </a:cubicBezTo>
                  <a:cubicBezTo>
                    <a:pt x="54209" y="62382"/>
                    <a:pt x="64263" y="23144"/>
                    <a:pt x="99378" y="23144"/>
                  </a:cubicBezTo>
                  <a:cubicBezTo>
                    <a:pt x="139049" y="23144"/>
                    <a:pt x="147584" y="62743"/>
                    <a:pt x="147584" y="109792"/>
                  </a:cubicBezTo>
                  <a:cubicBezTo>
                    <a:pt x="147511" y="148631"/>
                    <a:pt x="140821" y="187868"/>
                    <a:pt x="104947" y="187868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11B113DD-8B66-4B5F-B3C1-BE4785D5ECE9}"/>
                </a:ext>
              </a:extLst>
            </p:cNvPr>
            <p:cNvSpPr/>
            <p:nvPr/>
          </p:nvSpPr>
          <p:spPr>
            <a:xfrm>
              <a:off x="10552514" y="5903335"/>
              <a:ext cx="223346" cy="326011"/>
            </a:xfrm>
            <a:custGeom>
              <a:avLst/>
              <a:gdLst>
                <a:gd name="connsiteX0" fmla="*/ 189787 w 223346"/>
                <a:gd name="connsiteY0" fmla="*/ 295020 h 326011"/>
                <a:gd name="connsiteX1" fmla="*/ 188268 w 223346"/>
                <a:gd name="connsiteY1" fmla="*/ 218462 h 326011"/>
                <a:gd name="connsiteX2" fmla="*/ 188268 w 223346"/>
                <a:gd name="connsiteY2" fmla="*/ 18660 h 326011"/>
                <a:gd name="connsiteX3" fmla="*/ 168848 w 223346"/>
                <a:gd name="connsiteY3" fmla="*/ 0 h 326011"/>
                <a:gd name="connsiteX4" fmla="*/ 103102 w 223346"/>
                <a:gd name="connsiteY4" fmla="*/ 7884 h 326011"/>
                <a:gd name="connsiteX5" fmla="*/ 103102 w 223346"/>
                <a:gd name="connsiteY5" fmla="*/ 25423 h 326011"/>
                <a:gd name="connsiteX6" fmla="*/ 137458 w 223346"/>
                <a:gd name="connsiteY6" fmla="*/ 25423 h 326011"/>
                <a:gd name="connsiteX7" fmla="*/ 137458 w 223346"/>
                <a:gd name="connsiteY7" fmla="*/ 119122 h 326011"/>
                <a:gd name="connsiteX8" fmla="*/ 105345 w 223346"/>
                <a:gd name="connsiteY8" fmla="*/ 116518 h 326011"/>
                <a:gd name="connsiteX9" fmla="*/ 0 w 223346"/>
                <a:gd name="connsiteY9" fmla="*/ 228552 h 326011"/>
                <a:gd name="connsiteX10" fmla="*/ 80681 w 223346"/>
                <a:gd name="connsiteY10" fmla="*/ 326012 h 326011"/>
                <a:gd name="connsiteX11" fmla="*/ 137060 w 223346"/>
                <a:gd name="connsiteY11" fmla="*/ 297262 h 326011"/>
                <a:gd name="connsiteX12" fmla="*/ 160928 w 223346"/>
                <a:gd name="connsiteY12" fmla="*/ 326012 h 326011"/>
                <a:gd name="connsiteX13" fmla="*/ 223346 w 223346"/>
                <a:gd name="connsiteY13" fmla="*/ 307749 h 326011"/>
                <a:gd name="connsiteX14" fmla="*/ 220743 w 223346"/>
                <a:gd name="connsiteY14" fmla="*/ 295020 h 326011"/>
                <a:gd name="connsiteX15" fmla="*/ 189787 w 223346"/>
                <a:gd name="connsiteY15" fmla="*/ 295020 h 326011"/>
                <a:gd name="connsiteX16" fmla="*/ 137494 w 223346"/>
                <a:gd name="connsiteY16" fmla="*/ 218100 h 326011"/>
                <a:gd name="connsiteX17" fmla="*/ 136373 w 223346"/>
                <a:gd name="connsiteY17" fmla="*/ 281205 h 326011"/>
                <a:gd name="connsiteX18" fmla="*/ 101981 w 223346"/>
                <a:gd name="connsiteY18" fmla="*/ 289017 h 326011"/>
                <a:gd name="connsiteX19" fmla="*/ 53848 w 223346"/>
                <a:gd name="connsiteY19" fmla="*/ 220704 h 326011"/>
                <a:gd name="connsiteX20" fmla="*/ 106502 w 223346"/>
                <a:gd name="connsiteY20" fmla="*/ 139265 h 326011"/>
                <a:gd name="connsiteX21" fmla="*/ 137494 w 223346"/>
                <a:gd name="connsiteY21" fmla="*/ 145232 h 326011"/>
                <a:gd name="connsiteX22" fmla="*/ 137494 w 223346"/>
                <a:gd name="connsiteY22" fmla="*/ 218100 h 326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3346" h="326011">
                  <a:moveTo>
                    <a:pt x="189787" y="295020"/>
                  </a:moveTo>
                  <a:lnTo>
                    <a:pt x="188268" y="218462"/>
                  </a:lnTo>
                  <a:lnTo>
                    <a:pt x="188268" y="18660"/>
                  </a:lnTo>
                  <a:cubicBezTo>
                    <a:pt x="188268" y="3725"/>
                    <a:pt x="183024" y="0"/>
                    <a:pt x="168848" y="0"/>
                  </a:cubicBezTo>
                  <a:cubicBezTo>
                    <a:pt x="151272" y="0"/>
                    <a:pt x="123282" y="3725"/>
                    <a:pt x="103102" y="7884"/>
                  </a:cubicBezTo>
                  <a:lnTo>
                    <a:pt x="103102" y="25423"/>
                  </a:lnTo>
                  <a:lnTo>
                    <a:pt x="137458" y="25423"/>
                  </a:lnTo>
                  <a:lnTo>
                    <a:pt x="137458" y="119122"/>
                  </a:lnTo>
                  <a:cubicBezTo>
                    <a:pt x="128489" y="117603"/>
                    <a:pt x="119521" y="116518"/>
                    <a:pt x="105345" y="116518"/>
                  </a:cubicBezTo>
                  <a:cubicBezTo>
                    <a:pt x="46723" y="116518"/>
                    <a:pt x="0" y="159805"/>
                    <a:pt x="0" y="228552"/>
                  </a:cubicBezTo>
                  <a:cubicBezTo>
                    <a:pt x="0" y="306990"/>
                    <a:pt x="40358" y="326012"/>
                    <a:pt x="80681" y="326012"/>
                  </a:cubicBezTo>
                  <a:cubicBezTo>
                    <a:pt x="106068" y="326012"/>
                    <a:pt x="124367" y="311474"/>
                    <a:pt x="137060" y="297262"/>
                  </a:cubicBezTo>
                  <a:cubicBezTo>
                    <a:pt x="137060" y="311076"/>
                    <a:pt x="141942" y="326012"/>
                    <a:pt x="160928" y="326012"/>
                  </a:cubicBezTo>
                  <a:cubicBezTo>
                    <a:pt x="188593" y="326012"/>
                    <a:pt x="207290" y="316681"/>
                    <a:pt x="223346" y="307749"/>
                  </a:cubicBezTo>
                  <a:lnTo>
                    <a:pt x="220743" y="295020"/>
                  </a:lnTo>
                  <a:lnTo>
                    <a:pt x="189787" y="295020"/>
                  </a:lnTo>
                  <a:close/>
                  <a:moveTo>
                    <a:pt x="137494" y="218100"/>
                  </a:moveTo>
                  <a:lnTo>
                    <a:pt x="136373" y="281205"/>
                  </a:lnTo>
                  <a:cubicBezTo>
                    <a:pt x="127079" y="284207"/>
                    <a:pt x="115470" y="289017"/>
                    <a:pt x="101981" y="289017"/>
                  </a:cubicBezTo>
                  <a:cubicBezTo>
                    <a:pt x="73629" y="289017"/>
                    <a:pt x="53848" y="267753"/>
                    <a:pt x="53848" y="220704"/>
                  </a:cubicBezTo>
                  <a:cubicBezTo>
                    <a:pt x="53848" y="165772"/>
                    <a:pt x="68060" y="139265"/>
                    <a:pt x="106502" y="139265"/>
                  </a:cubicBezTo>
                  <a:cubicBezTo>
                    <a:pt x="121112" y="139265"/>
                    <a:pt x="129683" y="142664"/>
                    <a:pt x="137494" y="145232"/>
                  </a:cubicBezTo>
                  <a:lnTo>
                    <a:pt x="137494" y="218100"/>
                  </a:ln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CCAFC425-5F36-43C2-A64A-B245372054F1}"/>
                </a:ext>
              </a:extLst>
            </p:cNvPr>
            <p:cNvSpPr/>
            <p:nvPr/>
          </p:nvSpPr>
          <p:spPr>
            <a:xfrm>
              <a:off x="10288013" y="6017973"/>
              <a:ext cx="247214" cy="211337"/>
            </a:xfrm>
            <a:custGeom>
              <a:avLst/>
              <a:gdLst>
                <a:gd name="connsiteX0" fmla="*/ 213980 w 247214"/>
                <a:gd name="connsiteY0" fmla="*/ 180382 h 211337"/>
                <a:gd name="connsiteX1" fmla="*/ 212100 w 247214"/>
                <a:gd name="connsiteY1" fmla="*/ 106465 h 211337"/>
                <a:gd name="connsiteX2" fmla="*/ 212100 w 247214"/>
                <a:gd name="connsiteY2" fmla="*/ 20939 h 211337"/>
                <a:gd name="connsiteX3" fmla="*/ 188232 w 247214"/>
                <a:gd name="connsiteY3" fmla="*/ 36 h 211337"/>
                <a:gd name="connsiteX4" fmla="*/ 130334 w 247214"/>
                <a:gd name="connsiteY4" fmla="*/ 10090 h 211337"/>
                <a:gd name="connsiteX5" fmla="*/ 130334 w 247214"/>
                <a:gd name="connsiteY5" fmla="*/ 25025 h 211337"/>
                <a:gd name="connsiteX6" fmla="*/ 161326 w 247214"/>
                <a:gd name="connsiteY6" fmla="*/ 25025 h 211337"/>
                <a:gd name="connsiteX7" fmla="*/ 161326 w 247214"/>
                <a:gd name="connsiteY7" fmla="*/ 106067 h 211337"/>
                <a:gd name="connsiteX8" fmla="*/ 160205 w 247214"/>
                <a:gd name="connsiteY8" fmla="*/ 162120 h 211337"/>
                <a:gd name="connsiteX9" fmla="*/ 111637 w 247214"/>
                <a:gd name="connsiteY9" fmla="*/ 174415 h 211337"/>
                <a:gd name="connsiteX10" fmla="*/ 82923 w 247214"/>
                <a:gd name="connsiteY10" fmla="*/ 134636 h 211337"/>
                <a:gd name="connsiteX11" fmla="*/ 82923 w 247214"/>
                <a:gd name="connsiteY11" fmla="*/ 20541 h 211337"/>
                <a:gd name="connsiteX12" fmla="*/ 59381 w 247214"/>
                <a:gd name="connsiteY12" fmla="*/ 0 h 211337"/>
                <a:gd name="connsiteX13" fmla="*/ 0 w 247214"/>
                <a:gd name="connsiteY13" fmla="*/ 10053 h 211337"/>
                <a:gd name="connsiteX14" fmla="*/ 0 w 247214"/>
                <a:gd name="connsiteY14" fmla="*/ 24989 h 211337"/>
                <a:gd name="connsiteX15" fmla="*/ 31752 w 247214"/>
                <a:gd name="connsiteY15" fmla="*/ 24989 h 211337"/>
                <a:gd name="connsiteX16" fmla="*/ 31752 w 247214"/>
                <a:gd name="connsiteY16" fmla="*/ 142230 h 211337"/>
                <a:gd name="connsiteX17" fmla="*/ 91132 w 247214"/>
                <a:gd name="connsiteY17" fmla="*/ 211338 h 211337"/>
                <a:gd name="connsiteX18" fmla="*/ 160566 w 247214"/>
                <a:gd name="connsiteY18" fmla="*/ 176260 h 211337"/>
                <a:gd name="connsiteX19" fmla="*/ 191197 w 247214"/>
                <a:gd name="connsiteY19" fmla="*/ 210579 h 211337"/>
                <a:gd name="connsiteX20" fmla="*/ 247215 w 247214"/>
                <a:gd name="connsiteY20" fmla="*/ 190797 h 211337"/>
                <a:gd name="connsiteX21" fmla="*/ 246093 w 247214"/>
                <a:gd name="connsiteY21" fmla="*/ 180346 h 211337"/>
                <a:gd name="connsiteX22" fmla="*/ 213980 w 247214"/>
                <a:gd name="connsiteY22" fmla="*/ 180346 h 21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7214" h="211337">
                  <a:moveTo>
                    <a:pt x="213980" y="180382"/>
                  </a:moveTo>
                  <a:lnTo>
                    <a:pt x="212100" y="106465"/>
                  </a:lnTo>
                  <a:lnTo>
                    <a:pt x="212100" y="20939"/>
                  </a:lnTo>
                  <a:cubicBezTo>
                    <a:pt x="212100" y="6365"/>
                    <a:pt x="202769" y="36"/>
                    <a:pt x="188232" y="36"/>
                  </a:cubicBezTo>
                  <a:cubicBezTo>
                    <a:pt x="170294" y="36"/>
                    <a:pt x="148596" y="4882"/>
                    <a:pt x="130334" y="10090"/>
                  </a:cubicBezTo>
                  <a:lnTo>
                    <a:pt x="130334" y="25025"/>
                  </a:lnTo>
                  <a:lnTo>
                    <a:pt x="161326" y="25025"/>
                  </a:lnTo>
                  <a:lnTo>
                    <a:pt x="161326" y="106067"/>
                  </a:lnTo>
                  <a:lnTo>
                    <a:pt x="160205" y="162120"/>
                  </a:lnTo>
                  <a:cubicBezTo>
                    <a:pt x="148596" y="167327"/>
                    <a:pt x="133371" y="174415"/>
                    <a:pt x="111637" y="174415"/>
                  </a:cubicBezTo>
                  <a:cubicBezTo>
                    <a:pt x="86756" y="174415"/>
                    <a:pt x="83321" y="156297"/>
                    <a:pt x="82923" y="134636"/>
                  </a:cubicBezTo>
                  <a:lnTo>
                    <a:pt x="82923" y="20541"/>
                  </a:lnTo>
                  <a:cubicBezTo>
                    <a:pt x="82923" y="6329"/>
                    <a:pt x="74714" y="0"/>
                    <a:pt x="59381" y="0"/>
                  </a:cubicBezTo>
                  <a:cubicBezTo>
                    <a:pt x="41841" y="0"/>
                    <a:pt x="20541" y="4484"/>
                    <a:pt x="0" y="10053"/>
                  </a:cubicBezTo>
                  <a:lnTo>
                    <a:pt x="0" y="24989"/>
                  </a:lnTo>
                  <a:lnTo>
                    <a:pt x="31752" y="24989"/>
                  </a:lnTo>
                  <a:lnTo>
                    <a:pt x="31752" y="142230"/>
                  </a:lnTo>
                  <a:cubicBezTo>
                    <a:pt x="31752" y="177344"/>
                    <a:pt x="35838" y="211338"/>
                    <a:pt x="91132" y="211338"/>
                  </a:cubicBezTo>
                  <a:cubicBezTo>
                    <a:pt x="120244" y="211338"/>
                    <a:pt x="141544" y="194956"/>
                    <a:pt x="160566" y="176260"/>
                  </a:cubicBezTo>
                  <a:cubicBezTo>
                    <a:pt x="160964" y="197921"/>
                    <a:pt x="171379" y="210579"/>
                    <a:pt x="191197" y="210579"/>
                  </a:cubicBezTo>
                  <a:cubicBezTo>
                    <a:pt x="215824" y="210579"/>
                    <a:pt x="233762" y="199042"/>
                    <a:pt x="247215" y="190797"/>
                  </a:cubicBezTo>
                  <a:lnTo>
                    <a:pt x="246093" y="180346"/>
                  </a:lnTo>
                  <a:lnTo>
                    <a:pt x="213980" y="180346"/>
                  </a:ln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2A273E87-20A7-450E-9F35-20C6A61E3A39}"/>
                </a:ext>
              </a:extLst>
            </p:cNvPr>
            <p:cNvSpPr/>
            <p:nvPr/>
          </p:nvSpPr>
          <p:spPr>
            <a:xfrm>
              <a:off x="9858324" y="6022059"/>
              <a:ext cx="216722" cy="213977"/>
            </a:xfrm>
            <a:custGeom>
              <a:avLst/>
              <a:gdLst>
                <a:gd name="connsiteX0" fmla="*/ 152243 w 216722"/>
                <a:gd name="connsiteY0" fmla="*/ 12729 h 213977"/>
                <a:gd name="connsiteX1" fmla="*/ 169276 w 216722"/>
                <a:gd name="connsiteY1" fmla="*/ 18335 h 213977"/>
                <a:gd name="connsiteX2" fmla="*/ 177087 w 216722"/>
                <a:gd name="connsiteY2" fmla="*/ 30269 h 213977"/>
                <a:gd name="connsiteX3" fmla="*/ 174881 w 216722"/>
                <a:gd name="connsiteY3" fmla="*/ 41841 h 213977"/>
                <a:gd name="connsiteX4" fmla="*/ 126675 w 216722"/>
                <a:gd name="connsiteY4" fmla="*/ 164326 h 213977"/>
                <a:gd name="connsiteX5" fmla="*/ 74382 w 216722"/>
                <a:gd name="connsiteY5" fmla="*/ 0 h 213977"/>
                <a:gd name="connsiteX6" fmla="*/ 789 w 216722"/>
                <a:gd name="connsiteY6" fmla="*/ 0 h 213977"/>
                <a:gd name="connsiteX7" fmla="*/ 1079 w 216722"/>
                <a:gd name="connsiteY7" fmla="*/ 14574 h 213977"/>
                <a:gd name="connsiteX8" fmla="*/ 30552 w 216722"/>
                <a:gd name="connsiteY8" fmla="*/ 35440 h 213977"/>
                <a:gd name="connsiteX9" fmla="*/ 93802 w 216722"/>
                <a:gd name="connsiteY9" fmla="*/ 213978 h 213977"/>
                <a:gd name="connsiteX10" fmla="*/ 131123 w 216722"/>
                <a:gd name="connsiteY10" fmla="*/ 203165 h 213977"/>
                <a:gd name="connsiteX11" fmla="*/ 196145 w 216722"/>
                <a:gd name="connsiteY11" fmla="*/ 47808 h 213977"/>
                <a:gd name="connsiteX12" fmla="*/ 216288 w 216722"/>
                <a:gd name="connsiteY12" fmla="*/ 9330 h 213977"/>
                <a:gd name="connsiteX13" fmla="*/ 216722 w 216722"/>
                <a:gd name="connsiteY13" fmla="*/ 0 h 213977"/>
                <a:gd name="connsiteX14" fmla="*/ 152640 w 216722"/>
                <a:gd name="connsiteY14" fmla="*/ 0 h 213977"/>
                <a:gd name="connsiteX15" fmla="*/ 152243 w 216722"/>
                <a:gd name="connsiteY15" fmla="*/ 12729 h 21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6722" h="213977">
                  <a:moveTo>
                    <a:pt x="152243" y="12729"/>
                  </a:moveTo>
                  <a:lnTo>
                    <a:pt x="169276" y="18335"/>
                  </a:lnTo>
                  <a:cubicBezTo>
                    <a:pt x="174122" y="20215"/>
                    <a:pt x="177087" y="23940"/>
                    <a:pt x="177087" y="30269"/>
                  </a:cubicBezTo>
                  <a:cubicBezTo>
                    <a:pt x="177087" y="33632"/>
                    <a:pt x="176364" y="37357"/>
                    <a:pt x="174881" y="41841"/>
                  </a:cubicBezTo>
                  <a:lnTo>
                    <a:pt x="126675" y="164326"/>
                  </a:lnTo>
                  <a:lnTo>
                    <a:pt x="74382" y="0"/>
                  </a:lnTo>
                  <a:lnTo>
                    <a:pt x="789" y="0"/>
                  </a:lnTo>
                  <a:cubicBezTo>
                    <a:pt x="-693" y="4484"/>
                    <a:pt x="211" y="11066"/>
                    <a:pt x="1079" y="14574"/>
                  </a:cubicBezTo>
                  <a:cubicBezTo>
                    <a:pt x="18582" y="20613"/>
                    <a:pt x="24332" y="19166"/>
                    <a:pt x="30552" y="35440"/>
                  </a:cubicBezTo>
                  <a:lnTo>
                    <a:pt x="93802" y="213978"/>
                  </a:lnTo>
                  <a:lnTo>
                    <a:pt x="131123" y="203165"/>
                  </a:lnTo>
                  <a:lnTo>
                    <a:pt x="196145" y="47808"/>
                  </a:lnTo>
                  <a:cubicBezTo>
                    <a:pt x="202872" y="30666"/>
                    <a:pt x="209960" y="16454"/>
                    <a:pt x="216288" y="9330"/>
                  </a:cubicBezTo>
                  <a:cubicBezTo>
                    <a:pt x="216722" y="7847"/>
                    <a:pt x="216722" y="1483"/>
                    <a:pt x="216722" y="0"/>
                  </a:cubicBezTo>
                  <a:lnTo>
                    <a:pt x="152640" y="0"/>
                  </a:lnTo>
                  <a:cubicBezTo>
                    <a:pt x="151519" y="4520"/>
                    <a:pt x="151519" y="7884"/>
                    <a:pt x="152243" y="12729"/>
                  </a:cubicBezTo>
                  <a:close/>
                </a:path>
              </a:pathLst>
            </a:custGeom>
            <a:solidFill>
              <a:schemeClr val="bg1"/>
            </a:solidFill>
            <a:ln w="8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8" name="Espace réservé du texte 47">
            <a:extLst>
              <a:ext uri="{FF2B5EF4-FFF2-40B4-BE49-F238E27FC236}">
                <a16:creationId xmlns:a16="http://schemas.microsoft.com/office/drawing/2014/main" id="{B78F1311-89AB-4684-80B2-6AC46031F5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748371" y="2848291"/>
            <a:ext cx="4441789" cy="3924301"/>
          </a:xfrm>
        </p:spPr>
        <p:txBody>
          <a:bodyPr anchor="ctr"/>
          <a:lstStyle>
            <a:lvl1pPr algn="r">
              <a:defRPr sz="24000">
                <a:solidFill>
                  <a:schemeClr val="accent5"/>
                </a:solidFill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50" name="Espace réservé du texte 7">
            <a:extLst>
              <a:ext uri="{FF2B5EF4-FFF2-40B4-BE49-F238E27FC236}">
                <a16:creationId xmlns:a16="http://schemas.microsoft.com/office/drawing/2014/main" id="{89C48C4C-F773-4FBF-8954-D3C8B07B22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51760" y="3519341"/>
            <a:ext cx="9144820" cy="2268723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lIns="180000" anchor="ctr">
            <a:normAutofit/>
          </a:bodyPr>
          <a:lstStyle>
            <a:lvl1pPr>
              <a:lnSpc>
                <a:spcPct val="85000"/>
              </a:lnSpc>
              <a:spcBef>
                <a:spcPts val="1800"/>
              </a:spcBef>
              <a:defRPr sz="5400" b="0">
                <a:solidFill>
                  <a:schemeClr val="bg1"/>
                </a:solidFill>
                <a:latin typeface="+mj-lt"/>
              </a:defRPr>
            </a:lvl1pPr>
            <a:lvl2pPr marL="268288" indent="-268288">
              <a:lnSpc>
                <a:spcPct val="85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1800" b="0" cap="all" spc="600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du chapitre</a:t>
            </a:r>
          </a:p>
          <a:p>
            <a:pPr lvl="1"/>
            <a:r>
              <a:rPr lang="fr-FR"/>
              <a:t>Sous-titre du chapitre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1D475EC1-8000-4232-BA35-17D1D2BDEA00}"/>
              </a:ext>
            </a:extLst>
          </p:cNvPr>
          <p:cNvGrpSpPr/>
          <p:nvPr userDrawn="1"/>
        </p:nvGrpSpPr>
        <p:grpSpPr>
          <a:xfrm>
            <a:off x="12338174" y="0"/>
            <a:ext cx="1885826" cy="1528108"/>
            <a:chOff x="4867566" y="1651754"/>
            <a:chExt cx="1885826" cy="1528108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9D230EA3-A561-408F-BAD7-A2CEA27630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FE4EAF3-78AB-4253-B28C-E92C1B3B8F8C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d’image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Faire un clic droit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ur la diapositiv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liquer sur « Mise en forme de l’arrière plan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hoisir l’image souhaitée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2217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9E0723B-F68B-42C0-9242-AE7474AC17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447" y="1838960"/>
            <a:ext cx="11404912" cy="4064000"/>
          </a:xfrm>
        </p:spPr>
        <p:txBody>
          <a:bodyPr/>
          <a:lstStyle/>
          <a:p>
            <a:pPr lvl="0"/>
            <a:r>
              <a:rPr lang="fr-FR"/>
              <a:t>Cliquez ici pour insérez votre texte de niveau 01, police Arial, corps 16, gras, vous pouvez également mettre en avant </a:t>
            </a:r>
            <a:r>
              <a:rPr lang="fr-FR">
                <a:solidFill>
                  <a:schemeClr val="tx1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1"/>
            <a:r>
              <a:rPr lang="fr-FR"/>
              <a:t>Cliquez ici pour insérer votre texte de niveau 02, police Arial, corps 14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</a:t>
            </a:r>
            <a:r>
              <a:rPr lang="fr-FR">
                <a:solidFill>
                  <a:schemeClr val="tx1"/>
                </a:solidFill>
              </a:rPr>
              <a:t> </a:t>
            </a:r>
            <a:r>
              <a:rPr lang="fr-FR"/>
              <a:t>comme ceci</a:t>
            </a:r>
          </a:p>
          <a:p>
            <a:pPr lvl="2"/>
            <a:r>
              <a:rPr lang="fr-FR"/>
              <a:t>Cliquez ici pour insérer votre texte de niveau 03, police Arial, corps 12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3"/>
            <a:r>
              <a:rPr lang="fr-FR"/>
              <a:t>Cliquez ici pour insérer votre texte de niveau 04, police Arial, corps 11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7" name="Espace réservé du texte 58">
            <a:extLst>
              <a:ext uri="{FF2B5EF4-FFF2-40B4-BE49-F238E27FC236}">
                <a16:creationId xmlns:a16="http://schemas.microsoft.com/office/drawing/2014/main" id="{B8919373-D9B6-4BC3-8716-B037B5E329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262359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6" name="Espace réservé du pied de page 11">
            <a:extLst>
              <a:ext uri="{FF2B5EF4-FFF2-40B4-BE49-F238E27FC236}">
                <a16:creationId xmlns:a16="http://schemas.microsoft.com/office/drawing/2014/main" id="{60DCF103-F47A-43C6-9A00-919413482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</p:spTree>
    <p:extLst>
      <p:ext uri="{BB962C8B-B14F-4D97-AF65-F5344CB8AC3E}">
        <p14:creationId xmlns:p14="http://schemas.microsoft.com/office/powerpoint/2010/main" val="3122095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Titre + Texte + Img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9E0723B-F68B-42C0-9242-AE7474AC17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447" y="1838960"/>
            <a:ext cx="6717218" cy="4064000"/>
          </a:xfrm>
        </p:spPr>
        <p:txBody>
          <a:bodyPr/>
          <a:lstStyle/>
          <a:p>
            <a:pPr lvl="0"/>
            <a:r>
              <a:rPr lang="fr-FR"/>
              <a:t>Cliquez ici pour insérez votre texte de niveau 01, police Arial, corps 16, gras, vous pouvez également mettre en avant </a:t>
            </a:r>
            <a:r>
              <a:rPr lang="fr-FR">
                <a:solidFill>
                  <a:schemeClr val="tx1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1"/>
            <a:r>
              <a:rPr lang="fr-FR"/>
              <a:t>Cliquez ici pour insérer votre texte de niveau 02, police Arial, corps 14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</a:t>
            </a:r>
            <a:r>
              <a:rPr lang="fr-FR">
                <a:solidFill>
                  <a:schemeClr val="tx1"/>
                </a:solidFill>
              </a:rPr>
              <a:t> </a:t>
            </a:r>
            <a:r>
              <a:rPr lang="fr-FR"/>
              <a:t>comme ceci</a:t>
            </a:r>
          </a:p>
          <a:p>
            <a:pPr lvl="2"/>
            <a:r>
              <a:rPr lang="fr-FR"/>
              <a:t>Cliquez ici pour insérer votre texte de niveau 03, police Arial, corps 12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3"/>
            <a:r>
              <a:rPr lang="fr-FR"/>
              <a:t>Cliquez ici pour insérer votre texte de niveau 04, police Arial, corps 11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6633258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7" name="Espace réservé du texte 58">
            <a:extLst>
              <a:ext uri="{FF2B5EF4-FFF2-40B4-BE49-F238E27FC236}">
                <a16:creationId xmlns:a16="http://schemas.microsoft.com/office/drawing/2014/main" id="{B8919373-D9B6-4BC3-8716-B037B5E329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6633257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A517B901-3B9F-40F5-A667-F5AD8D1497C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59145" y="709612"/>
            <a:ext cx="4175760" cy="5264468"/>
          </a:xfrm>
          <a:custGeom>
            <a:avLst/>
            <a:gdLst>
              <a:gd name="connsiteX0" fmla="*/ 0 w 4175760"/>
              <a:gd name="connsiteY0" fmla="*/ 0 h 5264468"/>
              <a:gd name="connsiteX1" fmla="*/ 4175760 w 4175760"/>
              <a:gd name="connsiteY1" fmla="*/ 0 h 5264468"/>
              <a:gd name="connsiteX2" fmla="*/ 4175760 w 4175760"/>
              <a:gd name="connsiteY2" fmla="*/ 5264468 h 5264468"/>
              <a:gd name="connsiteX3" fmla="*/ 0 w 4175760"/>
              <a:gd name="connsiteY3" fmla="*/ 5264468 h 526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75760" h="5264468">
                <a:moveTo>
                  <a:pt x="0" y="0"/>
                </a:moveTo>
                <a:lnTo>
                  <a:pt x="4175760" y="0"/>
                </a:lnTo>
                <a:lnTo>
                  <a:pt x="4175760" y="5264468"/>
                </a:lnTo>
                <a:lnTo>
                  <a:pt x="0" y="526446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 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83C78DC6-5B85-4D05-BA8F-B802240F6C9A}"/>
              </a:ext>
            </a:extLst>
          </p:cNvPr>
          <p:cNvGrpSpPr/>
          <p:nvPr userDrawn="1"/>
        </p:nvGrpSpPr>
        <p:grpSpPr>
          <a:xfrm>
            <a:off x="12338174" y="0"/>
            <a:ext cx="1885826" cy="1681996"/>
            <a:chOff x="7045594" y="2588002"/>
            <a:chExt cx="1885826" cy="1681996"/>
          </a:xfrm>
        </p:grpSpPr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145E19E9-704D-46BC-A64E-EAD5D9A3795B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681996"/>
              <a:chOff x="2689543" y="1651754"/>
              <a:chExt cx="1885826" cy="1681996"/>
            </a:xfrm>
          </p:grpSpPr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87C32EEF-369C-40FD-BA5C-C92A4F583D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5415114-18A3-48F8-A4DA-F9F4B36FA0FC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323439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Pour passer d’un niveau</a:t>
                </a:r>
                <a:b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</a:b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de puces à un autre 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électionner la ligne souhaitée et utiliser la tabulation vers l’avant ou vers l’arrière 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258CF8B7-2E35-4F59-9043-35313E6834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962222"/>
              <a:ext cx="180768" cy="199216"/>
            </a:xfrm>
            <a:prstGeom prst="rect">
              <a:avLst/>
            </a:prstGeom>
          </p:spPr>
        </p:pic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88BEC783-EA3B-4436-8CBC-65C637FCE0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962222"/>
              <a:ext cx="180768" cy="199216"/>
            </a:xfrm>
            <a:prstGeom prst="rect">
              <a:avLst/>
            </a:prstGeom>
          </p:spPr>
        </p:pic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157D4062-336D-4C0E-A970-15A9B4AA4AE1}"/>
              </a:ext>
            </a:extLst>
          </p:cNvPr>
          <p:cNvGrpSpPr/>
          <p:nvPr userDrawn="1"/>
        </p:nvGrpSpPr>
        <p:grpSpPr>
          <a:xfrm>
            <a:off x="12338174" y="1915160"/>
            <a:ext cx="1885826" cy="1681996"/>
            <a:chOff x="511520" y="2588002"/>
            <a:chExt cx="1885826" cy="16819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BC76966-4C8A-444E-A887-B35C30C8C1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8D63D71-3DED-4CF7-BC7B-8C34BB42BA6C}"/>
                </a:ext>
              </a:extLst>
            </p:cNvPr>
            <p:cNvSpPr/>
            <p:nvPr/>
          </p:nvSpPr>
          <p:spPr>
            <a:xfrm>
              <a:off x="511520" y="2946559"/>
              <a:ext cx="1885826" cy="132343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d’image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upprimer l’image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en plac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liquer sur l’icone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u milieu du bloc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électionner l’image souhaitée dans votre ordinateur</a:t>
              </a:r>
            </a:p>
          </p:txBody>
        </p:sp>
      </p:grpSp>
      <p:sp>
        <p:nvSpPr>
          <p:cNvPr id="25" name="Espace réservé du pied de page 11">
            <a:extLst>
              <a:ext uri="{FF2B5EF4-FFF2-40B4-BE49-F238E27FC236}">
                <a16:creationId xmlns:a16="http://schemas.microsoft.com/office/drawing/2014/main" id="{D8CE7C08-E89D-4C26-9198-4417D6F0C0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C448756C-2DD6-45B6-9AED-3BEDE640EF11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1EDA51C2-AF63-4A70-993D-DE7A364C4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E034441-7D65-4F3B-B4CF-15B54BDEA312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28356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Titre + Texte + IMG + Zone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68848F93-16B3-48CA-B902-D020EC4C44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59145" y="709612"/>
            <a:ext cx="4175760" cy="5264468"/>
          </a:xfrm>
          <a:custGeom>
            <a:avLst/>
            <a:gdLst>
              <a:gd name="connsiteX0" fmla="*/ 0 w 4175760"/>
              <a:gd name="connsiteY0" fmla="*/ 0 h 5264468"/>
              <a:gd name="connsiteX1" fmla="*/ 4175760 w 4175760"/>
              <a:gd name="connsiteY1" fmla="*/ 0 h 5264468"/>
              <a:gd name="connsiteX2" fmla="*/ 4175760 w 4175760"/>
              <a:gd name="connsiteY2" fmla="*/ 5264468 h 5264468"/>
              <a:gd name="connsiteX3" fmla="*/ 0 w 4175760"/>
              <a:gd name="connsiteY3" fmla="*/ 5264468 h 526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75760" h="5264468">
                <a:moveTo>
                  <a:pt x="0" y="0"/>
                </a:moveTo>
                <a:lnTo>
                  <a:pt x="4175760" y="0"/>
                </a:lnTo>
                <a:lnTo>
                  <a:pt x="4175760" y="5264468"/>
                </a:lnTo>
                <a:lnTo>
                  <a:pt x="0" y="526446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C9E0723B-F68B-42C0-9242-AE7474AC17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447" y="1838960"/>
            <a:ext cx="4694409" cy="4064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quez ici pour insérez votre texte de niveau 01, police Arial, corps 16, gras, vous pouvez également mettre en avant </a:t>
            </a:r>
            <a:r>
              <a:rPr lang="fr-FR">
                <a:solidFill>
                  <a:schemeClr val="tx1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1"/>
            <a:r>
              <a:rPr lang="fr-FR"/>
              <a:t>Cliquez ici pour insérer votre texte de niveau 02, police Arial, corps 14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</a:t>
            </a:r>
            <a:r>
              <a:rPr lang="fr-FR">
                <a:solidFill>
                  <a:schemeClr val="tx1"/>
                </a:solidFill>
              </a:rPr>
              <a:t> </a:t>
            </a:r>
            <a:r>
              <a:rPr lang="fr-FR"/>
              <a:t>comme ceci</a:t>
            </a:r>
          </a:p>
          <a:p>
            <a:pPr lvl="2"/>
            <a:r>
              <a:rPr lang="fr-FR"/>
              <a:t>Cliquez ici pour insérer votre texte de niveau 03, police Arial, corps 12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  <a:p>
            <a:pPr lvl="3"/>
            <a:r>
              <a:rPr lang="fr-FR"/>
              <a:t>Cliquez ici pour insérer votre texte de niveau 04, police Arial, corps 11, sans gras mais vous pouvez également mettre en avant </a:t>
            </a:r>
            <a:r>
              <a:rPr lang="fr-FR" b="1">
                <a:solidFill>
                  <a:schemeClr val="accent2"/>
                </a:solidFill>
              </a:rPr>
              <a:t>certain mots </a:t>
            </a:r>
            <a:r>
              <a:rPr lang="fr-FR"/>
              <a:t>comme ceci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6239719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7" name="Espace réservé du texte 58">
            <a:extLst>
              <a:ext uri="{FF2B5EF4-FFF2-40B4-BE49-F238E27FC236}">
                <a16:creationId xmlns:a16="http://schemas.microsoft.com/office/drawing/2014/main" id="{B8919373-D9B6-4BC3-8716-B037B5E329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962550"/>
            <a:ext cx="6239718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16E7AED8-20C4-4C2E-AB52-E447A2A4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18341" y="2514600"/>
            <a:ext cx="2606460" cy="2621280"/>
          </a:xfrm>
          <a:solidFill>
            <a:schemeClr val="accent3"/>
          </a:solidFill>
        </p:spPr>
        <p:txBody>
          <a:bodyPr lIns="0" rIns="540000" anchor="ctr"/>
          <a:lstStyle>
            <a:lvl1pPr marL="450850" indent="-450850" algn="ctr">
              <a:defRPr sz="2800" b="0">
                <a:solidFill>
                  <a:schemeClr val="bg1"/>
                </a:solidFill>
                <a:latin typeface="+mj-lt"/>
              </a:defRPr>
            </a:lvl1pPr>
            <a:lvl2pPr marL="538163" indent="-268288" algn="ctr">
              <a:buFont typeface="Arial" panose="020B0604020202020204" pitchFamily="34" charset="0"/>
              <a:buChar char=" "/>
              <a:defRPr sz="1800"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</a:lstStyle>
          <a:p>
            <a:pPr lvl="0"/>
            <a:r>
              <a:rPr lang="fr-FR"/>
              <a:t>Ici</a:t>
            </a:r>
          </a:p>
          <a:p>
            <a:pPr lvl="1"/>
            <a:r>
              <a:rPr lang="fr-FR"/>
              <a:t>Votre texte </a:t>
            </a:r>
            <a:br>
              <a:rPr lang="fr-FR"/>
            </a:br>
            <a:r>
              <a:rPr lang="fr-FR"/>
              <a:t>sur plusieurs lignes</a:t>
            </a:r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9C6F712B-4B67-404D-A899-BAEAA48AD715}"/>
              </a:ext>
            </a:extLst>
          </p:cNvPr>
          <p:cNvGrpSpPr/>
          <p:nvPr userDrawn="1"/>
        </p:nvGrpSpPr>
        <p:grpSpPr>
          <a:xfrm>
            <a:off x="12338174" y="0"/>
            <a:ext cx="1885826" cy="1681996"/>
            <a:chOff x="7045594" y="2588002"/>
            <a:chExt cx="1885826" cy="1681996"/>
          </a:xfrm>
        </p:grpSpPr>
        <p:grpSp>
          <p:nvGrpSpPr>
            <p:cNvPr id="30" name="Groupe 29">
              <a:extLst>
                <a:ext uri="{FF2B5EF4-FFF2-40B4-BE49-F238E27FC236}">
                  <a16:creationId xmlns:a16="http://schemas.microsoft.com/office/drawing/2014/main" id="{DA15CCF6-6C8D-410B-B044-5C7491CA8EA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681996"/>
              <a:chOff x="2689543" y="1651754"/>
              <a:chExt cx="1885826" cy="1681996"/>
            </a:xfrm>
          </p:grpSpPr>
          <p:sp>
            <p:nvSpPr>
              <p:cNvPr id="33" name="Freeform 5">
                <a:extLst>
                  <a:ext uri="{FF2B5EF4-FFF2-40B4-BE49-F238E27FC236}">
                    <a16:creationId xmlns:a16="http://schemas.microsoft.com/office/drawing/2014/main" id="{AFC9E85F-3B6F-414E-B0CB-72223BB0F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50DCE02-D21D-44FD-A420-0FAED874F667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323439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Pour passer d’un niveau</a:t>
                </a:r>
                <a:b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</a:b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de puces à un autre 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électionner la ligne souhaitée et utiliser la tabulation vers l’avant ou vers l’arrière 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81F11913-7133-4B10-BEBA-FC3E1CF18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962222"/>
              <a:ext cx="180768" cy="199216"/>
            </a:xfrm>
            <a:prstGeom prst="rect">
              <a:avLst/>
            </a:prstGeom>
          </p:spPr>
        </p:pic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84DDCEE3-AC36-4638-A29F-F28A1CED88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962222"/>
              <a:ext cx="180768" cy="199216"/>
            </a:xfrm>
            <a:prstGeom prst="rect">
              <a:avLst/>
            </a:prstGeom>
          </p:spPr>
        </p:pic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A2C19663-742F-409D-9A39-B317464A005A}"/>
              </a:ext>
            </a:extLst>
          </p:cNvPr>
          <p:cNvGrpSpPr/>
          <p:nvPr userDrawn="1"/>
        </p:nvGrpSpPr>
        <p:grpSpPr>
          <a:xfrm>
            <a:off x="12338174" y="1915160"/>
            <a:ext cx="1885826" cy="1681996"/>
            <a:chOff x="511520" y="2588002"/>
            <a:chExt cx="1885826" cy="1681996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C16EBB0B-9FA5-40CC-87C9-5376224168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C8A1EC5-A8F5-42A2-9F24-84A492B65E20}"/>
                </a:ext>
              </a:extLst>
            </p:cNvPr>
            <p:cNvSpPr/>
            <p:nvPr/>
          </p:nvSpPr>
          <p:spPr>
            <a:xfrm>
              <a:off x="511520" y="2946559"/>
              <a:ext cx="1885826" cy="132343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d’image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upprimer l’image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en plac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liquer sur l’icone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u milieu du bloc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électionner l’image souhaitée dans votre ordinateur</a:t>
              </a:r>
            </a:p>
          </p:txBody>
        </p:sp>
      </p:grpSp>
      <p:sp>
        <p:nvSpPr>
          <p:cNvPr id="39" name="Espace réservé du pied de page 11">
            <a:extLst>
              <a:ext uri="{FF2B5EF4-FFF2-40B4-BE49-F238E27FC236}">
                <a16:creationId xmlns:a16="http://schemas.microsoft.com/office/drawing/2014/main" id="{D4182397-1755-4F59-8596-3D633B8901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EBF8EF33-8C2B-42AE-9790-B4D118E23A6F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8B4E6B7E-D450-44A9-9FEE-0319433F5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863E9AE-DE3B-4978-AEC7-D553BDD14579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6084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+ Sous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6" name="Espace réservé du pied de page 11">
            <a:extLst>
              <a:ext uri="{FF2B5EF4-FFF2-40B4-BE49-F238E27FC236}">
                <a16:creationId xmlns:a16="http://schemas.microsoft.com/office/drawing/2014/main" id="{60DCF103-F47A-43C6-9A00-919413482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sp>
        <p:nvSpPr>
          <p:cNvPr id="29" name="RectangleLight">
            <a:extLst>
              <a:ext uri="{FF2B5EF4-FFF2-40B4-BE49-F238E27FC236}">
                <a16:creationId xmlns:a16="http://schemas.microsoft.com/office/drawing/2014/main" id="{C31C9E96-9FB9-4306-94E0-03A720B7F0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8894067" y="0"/>
            <a:ext cx="3297932" cy="6858000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F0CA33-2B14-4EF0-B417-451515500E74}"/>
              </a:ext>
            </a:extLst>
          </p:cNvPr>
          <p:cNvSpPr txBox="1">
            <a:spLocks/>
          </p:cNvSpPr>
          <p:nvPr userDrawn="1"/>
        </p:nvSpPr>
        <p:spPr>
          <a:xfrm>
            <a:off x="9124950" y="2349883"/>
            <a:ext cx="2724150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800" b="1">
                <a:solidFill>
                  <a:schemeClr val="accent2"/>
                </a:solidFill>
              </a:rPr>
              <a:t>À considérer</a:t>
            </a: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id="{CFA12BC1-0FF0-4252-8008-38838C61695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24950" y="1674026"/>
            <a:ext cx="609600" cy="6096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4D871D3-B566-40AF-A999-B82EBAC33D45}"/>
              </a:ext>
            </a:extLst>
          </p:cNvPr>
          <p:cNvSpPr/>
          <p:nvPr userDrawn="1"/>
        </p:nvSpPr>
        <p:spPr>
          <a:xfrm>
            <a:off x="554735" y="1672533"/>
            <a:ext cx="8038931" cy="4076333"/>
          </a:xfrm>
          <a:prstGeom prst="rect">
            <a:avLst/>
          </a:prstGeom>
          <a:noFill/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33" name="Forme libre : forme 7">
            <a:extLst>
              <a:ext uri="{FF2B5EF4-FFF2-40B4-BE49-F238E27FC236}">
                <a16:creationId xmlns:a16="http://schemas.microsoft.com/office/drawing/2014/main" id="{A2A6805E-FA9F-4B18-87AA-3C7E5D1F99F4}"/>
              </a:ext>
            </a:extLst>
          </p:cNvPr>
          <p:cNvSpPr/>
          <p:nvPr userDrawn="1"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accent2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8EDBA20-AB3E-4A09-8AB7-EB6F1DFE8FE7}"/>
              </a:ext>
            </a:extLst>
          </p:cNvPr>
          <p:cNvCxnSpPr>
            <a:cxnSpLocks/>
          </p:cNvCxnSpPr>
          <p:nvPr userDrawn="1"/>
        </p:nvCxnSpPr>
        <p:spPr>
          <a:xfrm>
            <a:off x="9124949" y="2636407"/>
            <a:ext cx="2724150" cy="0"/>
          </a:xfrm>
          <a:prstGeom prst="line">
            <a:avLst/>
          </a:prstGeom>
          <a:ln w="12700">
            <a:solidFill>
              <a:schemeClr val="accent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re 6">
            <a:extLst>
              <a:ext uri="{FF2B5EF4-FFF2-40B4-BE49-F238E27FC236}">
                <a16:creationId xmlns:a16="http://schemas.microsoft.com/office/drawing/2014/main" id="{110ED3BB-C6A7-4A2E-B734-7CEA52665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262360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36" name="Espace réservé du texte 58">
            <a:extLst>
              <a:ext uri="{FF2B5EF4-FFF2-40B4-BE49-F238E27FC236}">
                <a16:creationId xmlns:a16="http://schemas.microsoft.com/office/drawing/2014/main" id="{AEAC9F3F-6913-4855-84C3-99F2EC3D25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262359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77666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+ SousTitre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6" name="Espace réservé du pied de page 11">
            <a:extLst>
              <a:ext uri="{FF2B5EF4-FFF2-40B4-BE49-F238E27FC236}">
                <a16:creationId xmlns:a16="http://schemas.microsoft.com/office/drawing/2014/main" id="{60DCF103-F47A-43C6-9A00-9194134820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sp>
        <p:nvSpPr>
          <p:cNvPr id="29" name="RectangleLight">
            <a:extLst>
              <a:ext uri="{FF2B5EF4-FFF2-40B4-BE49-F238E27FC236}">
                <a16:creationId xmlns:a16="http://schemas.microsoft.com/office/drawing/2014/main" id="{C31C9E96-9FB9-4306-94E0-03A720B7F0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8894067" y="0"/>
            <a:ext cx="3297932" cy="6858000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fr-FR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F0CA33-2B14-4EF0-B417-451515500E74}"/>
              </a:ext>
            </a:extLst>
          </p:cNvPr>
          <p:cNvSpPr txBox="1">
            <a:spLocks/>
          </p:cNvSpPr>
          <p:nvPr userDrawn="1"/>
        </p:nvSpPr>
        <p:spPr>
          <a:xfrm>
            <a:off x="9124950" y="1791083"/>
            <a:ext cx="2724150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800" b="1">
                <a:solidFill>
                  <a:schemeClr val="accent2"/>
                </a:solidFill>
              </a:rPr>
              <a:t>Messages clés</a:t>
            </a: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id="{CFA12BC1-0FF0-4252-8008-38838C61695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24950" y="1115226"/>
            <a:ext cx="609600" cy="6096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4D871D3-B566-40AF-A999-B82EBAC33D45}"/>
              </a:ext>
            </a:extLst>
          </p:cNvPr>
          <p:cNvSpPr/>
          <p:nvPr userDrawn="1"/>
        </p:nvSpPr>
        <p:spPr>
          <a:xfrm>
            <a:off x="554735" y="1672533"/>
            <a:ext cx="8038931" cy="4076333"/>
          </a:xfrm>
          <a:prstGeom prst="rect">
            <a:avLst/>
          </a:prstGeom>
          <a:noFill/>
          <a:ln w="63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>
              <a:solidFill>
                <a:schemeClr val="tx1"/>
              </a:solidFill>
            </a:endParaRP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33" name="Forme libre : forme 7">
            <a:extLst>
              <a:ext uri="{FF2B5EF4-FFF2-40B4-BE49-F238E27FC236}">
                <a16:creationId xmlns:a16="http://schemas.microsoft.com/office/drawing/2014/main" id="{A2A6805E-FA9F-4B18-87AA-3C7E5D1F99F4}"/>
              </a:ext>
            </a:extLst>
          </p:cNvPr>
          <p:cNvSpPr/>
          <p:nvPr userDrawn="1"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accent2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8EDBA20-AB3E-4A09-8AB7-EB6F1DFE8FE7}"/>
              </a:ext>
            </a:extLst>
          </p:cNvPr>
          <p:cNvCxnSpPr>
            <a:cxnSpLocks/>
          </p:cNvCxnSpPr>
          <p:nvPr userDrawn="1"/>
        </p:nvCxnSpPr>
        <p:spPr>
          <a:xfrm>
            <a:off x="9124949" y="2077607"/>
            <a:ext cx="2724150" cy="0"/>
          </a:xfrm>
          <a:prstGeom prst="line">
            <a:avLst/>
          </a:prstGeom>
          <a:ln w="12700">
            <a:solidFill>
              <a:schemeClr val="accent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EFFA986-24CA-4A4D-A252-30F355F9C538}"/>
              </a:ext>
            </a:extLst>
          </p:cNvPr>
          <p:cNvCxnSpPr>
            <a:cxnSpLocks/>
          </p:cNvCxnSpPr>
          <p:nvPr userDrawn="1"/>
        </p:nvCxnSpPr>
        <p:spPr>
          <a:xfrm>
            <a:off x="9124949" y="1798590"/>
            <a:ext cx="2724150" cy="0"/>
          </a:xfrm>
          <a:prstGeom prst="line">
            <a:avLst/>
          </a:prstGeom>
          <a:ln w="12700">
            <a:solidFill>
              <a:schemeClr val="accent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re 6">
            <a:extLst>
              <a:ext uri="{FF2B5EF4-FFF2-40B4-BE49-F238E27FC236}">
                <a16:creationId xmlns:a16="http://schemas.microsoft.com/office/drawing/2014/main" id="{506AD2F7-9B25-42B5-B55B-89834E3E7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262360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37" name="Espace réservé du texte 58">
            <a:extLst>
              <a:ext uri="{FF2B5EF4-FFF2-40B4-BE49-F238E27FC236}">
                <a16:creationId xmlns:a16="http://schemas.microsoft.com/office/drawing/2014/main" id="{F6042389-FD65-4B68-B6E2-A55E1D5D14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262359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92956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_titre + Mise En Avant Chiff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6">
            <a:extLst>
              <a:ext uri="{FF2B5EF4-FFF2-40B4-BE49-F238E27FC236}">
                <a16:creationId xmlns:a16="http://schemas.microsoft.com/office/drawing/2014/main" id="{FF3339DA-7E92-4688-B24E-1B92A29F2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413603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e la date 8">
            <a:extLst>
              <a:ext uri="{FF2B5EF4-FFF2-40B4-BE49-F238E27FC236}">
                <a16:creationId xmlns:a16="http://schemas.microsoft.com/office/drawing/2014/main" id="{FE80A60B-5051-4F6A-8E02-540A237E306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331962" y="6245995"/>
            <a:ext cx="1088760" cy="215444"/>
          </a:xfrm>
        </p:spPr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6" name="Espace réservé du pied de page 11">
            <a:extLst>
              <a:ext uri="{FF2B5EF4-FFF2-40B4-BE49-F238E27FC236}">
                <a16:creationId xmlns:a16="http://schemas.microsoft.com/office/drawing/2014/main" id="{F5BD7CB9-72D9-41B9-ADEE-37F3004978D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sp>
        <p:nvSpPr>
          <p:cNvPr id="7" name="Espace réservé du numéro de diapositive 12">
            <a:extLst>
              <a:ext uri="{FF2B5EF4-FFF2-40B4-BE49-F238E27FC236}">
                <a16:creationId xmlns:a16="http://schemas.microsoft.com/office/drawing/2014/main" id="{CAE37A05-2DE8-4C0A-AC7F-9981A0D6C5D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38447" y="6228668"/>
            <a:ext cx="520337" cy="250098"/>
          </a:xfrm>
        </p:spPr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B90B7E0-B191-4413-9571-6AF2C8B9D19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" name="Espace réservé du texte 58">
            <a:extLst>
              <a:ext uri="{FF2B5EF4-FFF2-40B4-BE49-F238E27FC236}">
                <a16:creationId xmlns:a16="http://schemas.microsoft.com/office/drawing/2014/main" id="{76368801-6D4B-4F15-8D2B-E4020DC353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413601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0" name="Espace réservé du texte 11">
            <a:extLst>
              <a:ext uri="{FF2B5EF4-FFF2-40B4-BE49-F238E27FC236}">
                <a16:creationId xmlns:a16="http://schemas.microsoft.com/office/drawing/2014/main" id="{19E789B5-03B5-443A-B460-2899C5C3D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7927" y="2535283"/>
            <a:ext cx="3225481" cy="886397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lIns="36000" tIns="72000" bIns="0" anchor="ctr" anchorCtr="0"/>
          <a:lstStyle>
            <a:lvl1pPr marL="179388" indent="-179388">
              <a:lnSpc>
                <a:spcPct val="80000"/>
              </a:lnSpc>
              <a:spcBef>
                <a:spcPts val="0"/>
              </a:spcBef>
              <a:defRPr sz="4800">
                <a:solidFill>
                  <a:schemeClr val="accent2"/>
                </a:solidFill>
                <a:latin typeface="+mj-lt"/>
              </a:defRPr>
            </a:lvl1pPr>
            <a:lvl2pPr marL="179388" indent="-179388">
              <a:lnSpc>
                <a:spcPct val="80000"/>
              </a:lnSpc>
              <a:spcBef>
                <a:spcPts val="0"/>
              </a:spcBef>
              <a:buFont typeface="Tahoma" panose="020B0604030504040204" pitchFamily="34" charset="0"/>
              <a:buChar char=" "/>
              <a:defRPr sz="2400" b="1">
                <a:solidFill>
                  <a:schemeClr val="accent2"/>
                </a:solidFill>
                <a:latin typeface="+mj-lt"/>
              </a:defRPr>
            </a:lvl2pPr>
            <a:lvl3pPr marL="449262" indent="0">
              <a:buNone/>
              <a:defRPr/>
            </a:lvl3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Votre text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61095EB4-B23B-4D7A-94C3-FAF5CD54A6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5563" y="3554087"/>
            <a:ext cx="3077845" cy="1255728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fr-FR"/>
              <a:t>Cliquez ici pour ajouter votre texte, Police Arial, corps 14, sans gras, sur plusieurs lignes si nécessaires. Vous pouvez également mettre certains mots en exergue de cette façon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AD53455-6C5B-41FB-B787-9A3960AA5E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5527" y="2535283"/>
            <a:ext cx="3225481" cy="886397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lIns="36000" tIns="72000" bIns="0" anchor="ctr" anchorCtr="0"/>
          <a:lstStyle>
            <a:lvl1pPr marL="179388" indent="-179388">
              <a:lnSpc>
                <a:spcPct val="80000"/>
              </a:lnSpc>
              <a:spcBef>
                <a:spcPts val="0"/>
              </a:spcBef>
              <a:defRPr sz="4800">
                <a:solidFill>
                  <a:schemeClr val="accent2"/>
                </a:solidFill>
                <a:latin typeface="+mj-lt"/>
              </a:defRPr>
            </a:lvl1pPr>
            <a:lvl2pPr marL="179388" indent="-179388">
              <a:lnSpc>
                <a:spcPct val="80000"/>
              </a:lnSpc>
              <a:spcBef>
                <a:spcPts val="0"/>
              </a:spcBef>
              <a:buFont typeface="Tahoma" panose="020B0604030504040204" pitchFamily="34" charset="0"/>
              <a:buChar char=" "/>
              <a:defRPr sz="2400" b="1">
                <a:solidFill>
                  <a:schemeClr val="accent2"/>
                </a:solidFill>
                <a:latin typeface="+mj-lt"/>
              </a:defRPr>
            </a:lvl2pPr>
            <a:lvl3pPr marL="449262" indent="0">
              <a:buNone/>
              <a:defRPr/>
            </a:lvl3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Votre texte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A3B7701-D91B-4F14-931D-3266FCB0B8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3163" y="3554087"/>
            <a:ext cx="3077845" cy="1255728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fr-FR"/>
              <a:t>Cliquez ici pour ajouter votre texte, Police Arial, corps 14, sans gras, sur plusieurs lignes si nécessaires. Vous pouvez également mettre certains mots en exergue de cette façon.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66ACFDF4-9943-4439-98F1-6B5A387E09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42807" y="2535283"/>
            <a:ext cx="3225481" cy="886397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lIns="36000" tIns="72000" bIns="0" anchor="ctr" anchorCtr="0"/>
          <a:lstStyle>
            <a:lvl1pPr marL="179388" indent="-179388">
              <a:lnSpc>
                <a:spcPct val="80000"/>
              </a:lnSpc>
              <a:spcBef>
                <a:spcPts val="0"/>
              </a:spcBef>
              <a:defRPr sz="4800">
                <a:solidFill>
                  <a:schemeClr val="accent2"/>
                </a:solidFill>
                <a:latin typeface="+mj-lt"/>
              </a:defRPr>
            </a:lvl1pPr>
            <a:lvl2pPr marL="179388" indent="-179388">
              <a:lnSpc>
                <a:spcPct val="80000"/>
              </a:lnSpc>
              <a:spcBef>
                <a:spcPts val="0"/>
              </a:spcBef>
              <a:buFont typeface="Tahoma" panose="020B0604030504040204" pitchFamily="34" charset="0"/>
              <a:buChar char=" "/>
              <a:defRPr sz="2400" b="1">
                <a:solidFill>
                  <a:schemeClr val="accent2"/>
                </a:solidFill>
                <a:latin typeface="+mj-lt"/>
              </a:defRPr>
            </a:lvl2pPr>
            <a:lvl3pPr marL="449262" indent="0">
              <a:buNone/>
              <a:defRPr/>
            </a:lvl3pPr>
          </a:lstStyle>
          <a:p>
            <a:pPr lvl="0"/>
            <a:r>
              <a:rPr lang="fr-FR"/>
              <a:t>00%</a:t>
            </a:r>
          </a:p>
          <a:p>
            <a:pPr lvl="1"/>
            <a:r>
              <a:rPr lang="fr-FR"/>
              <a:t>Votre texte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9351E55F-306F-41D3-A2A5-C6F39EAAA7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90443" y="3554087"/>
            <a:ext cx="3077845" cy="1255728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fr-FR"/>
              <a:t>Cliquez ici pour ajouter votre texte, Police Arial, corps 14, sans gras, sur plusieurs lignes si nécessaires. Vous pouvez également mettre certains mots en exergue de cette façon.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82433AAC-672B-47BD-A2DC-AD165A5E37ED}"/>
              </a:ext>
            </a:extLst>
          </p:cNvPr>
          <p:cNvGrpSpPr/>
          <p:nvPr userDrawn="1"/>
        </p:nvGrpSpPr>
        <p:grpSpPr>
          <a:xfrm>
            <a:off x="12338174" y="0"/>
            <a:ext cx="1885826" cy="1220331"/>
            <a:chOff x="511520" y="2588002"/>
            <a:chExt cx="1885826" cy="1220331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44024F01-D7E9-4378-8F7F-4BDD89525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7CA0E34-62E2-4C32-9390-70963ADAFB79}"/>
                </a:ext>
              </a:extLst>
            </p:cNvPr>
            <p:cNvSpPr/>
            <p:nvPr/>
          </p:nvSpPr>
          <p:spPr>
            <a:xfrm>
              <a:off x="511520" y="2946559"/>
              <a:ext cx="1885826" cy="86177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les blocs chiffres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Attention de ne pas étirer les blocs chiffres verticalement (dans la hauteur)</a:t>
              </a: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0D571209-1494-4A92-92A1-BED1A2F184DA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BB1C236-FAAE-4C96-8808-14A7C64E62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A651085-8CBD-49F8-AC37-3FB35D8D7A00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0060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ue 360°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E59E0E23-1295-4F6B-9293-55EEB500FB55}"/>
              </a:ext>
            </a:extLst>
          </p:cNvPr>
          <p:cNvSpPr>
            <a:spLocks noChangeAspect="1"/>
          </p:cNvSpPr>
          <p:nvPr userDrawn="1"/>
        </p:nvSpPr>
        <p:spPr>
          <a:xfrm>
            <a:off x="213564" y="3429000"/>
            <a:ext cx="11764873" cy="3429000"/>
          </a:xfrm>
          <a:prstGeom prst="rect">
            <a:avLst/>
          </a:prstGeom>
          <a:solidFill>
            <a:schemeClr val="accent2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DAC28269-C35C-4F26-82F7-3444C11C5F7D}"/>
              </a:ext>
            </a:extLst>
          </p:cNvPr>
          <p:cNvSpPr/>
          <p:nvPr userDrawn="1"/>
        </p:nvSpPr>
        <p:spPr>
          <a:xfrm>
            <a:off x="3962400" y="1397003"/>
            <a:ext cx="4267200" cy="426719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id="{73405075-BC69-40F2-B6D0-BC02A9978C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1595" y="1395756"/>
            <a:ext cx="3497239" cy="341632"/>
          </a:xfrm>
        </p:spPr>
        <p:txBody>
          <a:bodyPr anchor="b"/>
          <a:lstStyle>
            <a:lvl1pPr marL="0" indent="0" algn="r">
              <a:buNone/>
              <a:defRPr sz="1800" b="1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GB"/>
              <a:t>Titre de la section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44C17854-22E3-49B7-970E-B182BD1A94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234" y="1784732"/>
            <a:ext cx="3530600" cy="1402948"/>
          </a:xfrm>
        </p:spPr>
        <p:txBody>
          <a:bodyPr wrap="square">
            <a:spAutoFit/>
          </a:bodyPr>
          <a:lstStyle>
            <a:lvl1pPr algn="r">
              <a:defRPr sz="1400">
                <a:solidFill>
                  <a:schemeClr val="accent2"/>
                </a:solidFill>
              </a:defRPr>
            </a:lvl1pPr>
            <a:lvl2pPr marL="363538" indent="-147638" algn="r"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1, Police Arial, taille 14, avec gras</a:t>
            </a:r>
          </a:p>
          <a:p>
            <a:pPr lvl="1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2, Police Arial, corps 12, sans gras, </a:t>
            </a:r>
            <a:r>
              <a:rPr lang="en-GB" err="1"/>
              <a:t>mais</a:t>
            </a:r>
            <a:r>
              <a:rPr lang="en-GB"/>
              <a:t> </a:t>
            </a:r>
            <a:r>
              <a:rPr lang="en-GB" err="1"/>
              <a:t>vous</a:t>
            </a:r>
            <a:r>
              <a:rPr lang="en-GB"/>
              <a:t> </a:t>
            </a:r>
            <a:r>
              <a:rPr lang="en-GB" err="1"/>
              <a:t>pouvez</a:t>
            </a:r>
            <a:r>
              <a:rPr lang="en-GB"/>
              <a:t> </a:t>
            </a:r>
            <a:r>
              <a:rPr lang="en-GB" err="1"/>
              <a:t>mettre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vant</a:t>
            </a:r>
            <a:r>
              <a:rPr lang="en-GB"/>
              <a:t> </a:t>
            </a:r>
            <a:r>
              <a:rPr lang="en-GB" err="1"/>
              <a:t>certains</a:t>
            </a:r>
            <a:r>
              <a:rPr lang="en-GB"/>
              <a:t> mots </a:t>
            </a:r>
            <a:r>
              <a:rPr lang="en-GB" err="1"/>
              <a:t>comme</a:t>
            </a:r>
            <a:r>
              <a:rPr lang="en-GB"/>
              <a:t> </a:t>
            </a:r>
            <a:r>
              <a:rPr lang="en-GB" err="1"/>
              <a:t>ceci</a:t>
            </a:r>
            <a:endParaRPr lang="en-GB"/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68676984-205E-42A1-9D7A-9BC81D1542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16401" y="1410270"/>
            <a:ext cx="3497239" cy="341632"/>
          </a:xfrm>
        </p:spPr>
        <p:txBody>
          <a:bodyPr lIns="0" anchor="b"/>
          <a:lstStyle>
            <a:lvl1pPr marL="217488" indent="0" algn="l">
              <a:buNone/>
              <a:defRPr sz="1800" b="1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GB"/>
              <a:t>Titre de la section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id="{7F28095C-33C5-4A92-86E3-C5C933437C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16402" y="1799246"/>
            <a:ext cx="3530600" cy="1402948"/>
          </a:xfrm>
        </p:spPr>
        <p:txBody>
          <a:bodyPr wrap="square" lIns="0">
            <a:spAutoFit/>
          </a:bodyPr>
          <a:lstStyle>
            <a:lvl1pPr algn="l">
              <a:defRPr sz="1400">
                <a:solidFill>
                  <a:schemeClr val="accent2"/>
                </a:solidFill>
              </a:defRPr>
            </a:lvl1pPr>
            <a:lvl2pPr marL="363538" indent="-147638" algn="l"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1, Police Arial, taille 14, avec gras</a:t>
            </a:r>
          </a:p>
          <a:p>
            <a:pPr lvl="1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2, Police Arial, corps 12, sans gras, </a:t>
            </a:r>
            <a:r>
              <a:rPr lang="en-GB" err="1"/>
              <a:t>mais</a:t>
            </a:r>
            <a:r>
              <a:rPr lang="en-GB"/>
              <a:t> </a:t>
            </a:r>
            <a:r>
              <a:rPr lang="en-GB" err="1"/>
              <a:t>vous</a:t>
            </a:r>
            <a:r>
              <a:rPr lang="en-GB"/>
              <a:t> </a:t>
            </a:r>
            <a:r>
              <a:rPr lang="en-GB" err="1"/>
              <a:t>pouvez</a:t>
            </a:r>
            <a:r>
              <a:rPr lang="en-GB"/>
              <a:t> </a:t>
            </a:r>
            <a:r>
              <a:rPr lang="en-GB" err="1"/>
              <a:t>mettre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vant</a:t>
            </a:r>
            <a:r>
              <a:rPr lang="en-GB"/>
              <a:t> </a:t>
            </a:r>
            <a:r>
              <a:rPr lang="en-GB" err="1"/>
              <a:t>certains</a:t>
            </a:r>
            <a:r>
              <a:rPr lang="en-GB"/>
              <a:t> mots </a:t>
            </a:r>
            <a:r>
              <a:rPr lang="en-GB" err="1"/>
              <a:t>comme</a:t>
            </a:r>
            <a:r>
              <a:rPr lang="en-GB"/>
              <a:t> </a:t>
            </a:r>
            <a:r>
              <a:rPr lang="en-GB" err="1"/>
              <a:t>ceci</a:t>
            </a:r>
            <a:endParaRPr lang="en-GB"/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9F1E6CA6-71E2-445D-8EFC-83082E9887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16401" y="4055984"/>
            <a:ext cx="3497239" cy="341632"/>
          </a:xfrm>
        </p:spPr>
        <p:txBody>
          <a:bodyPr lIns="0" anchor="b"/>
          <a:lstStyle>
            <a:lvl1pPr marL="174625" indent="0" algn="l">
              <a:buNone/>
              <a:defRPr sz="1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Titre de la section</a:t>
            </a: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id="{8C32BC92-CBDB-4439-92CD-48A1228B6F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16401" y="4444960"/>
            <a:ext cx="3530601" cy="1402948"/>
          </a:xfrm>
        </p:spPr>
        <p:txBody>
          <a:bodyPr wrap="square" lIns="0">
            <a:sp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marL="363538" indent="-147638" algn="l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1, Police Arial, taille 14, avec gras</a:t>
            </a:r>
          </a:p>
          <a:p>
            <a:pPr lvl="1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2, Police Arial, corps 12, sans gras, </a:t>
            </a:r>
            <a:r>
              <a:rPr lang="en-GB" err="1"/>
              <a:t>mais</a:t>
            </a:r>
            <a:r>
              <a:rPr lang="en-GB"/>
              <a:t> </a:t>
            </a:r>
            <a:r>
              <a:rPr lang="en-GB" err="1"/>
              <a:t>vous</a:t>
            </a:r>
            <a:r>
              <a:rPr lang="en-GB"/>
              <a:t> </a:t>
            </a:r>
            <a:r>
              <a:rPr lang="en-GB" err="1"/>
              <a:t>pouvez</a:t>
            </a:r>
            <a:r>
              <a:rPr lang="en-GB"/>
              <a:t> </a:t>
            </a:r>
            <a:r>
              <a:rPr lang="en-GB" err="1"/>
              <a:t>mettre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vant</a:t>
            </a:r>
            <a:r>
              <a:rPr lang="en-GB"/>
              <a:t> </a:t>
            </a:r>
            <a:r>
              <a:rPr lang="en-GB" err="1"/>
              <a:t>certains</a:t>
            </a:r>
            <a:r>
              <a:rPr lang="en-GB"/>
              <a:t> mots </a:t>
            </a:r>
            <a:r>
              <a:rPr lang="en-GB" err="1"/>
              <a:t>comme</a:t>
            </a:r>
            <a:r>
              <a:rPr lang="en-GB"/>
              <a:t> </a:t>
            </a:r>
            <a:r>
              <a:rPr lang="en-GB" err="1"/>
              <a:t>ceci</a:t>
            </a:r>
            <a:endParaRPr lang="en-GB"/>
          </a:p>
        </p:txBody>
      </p:sp>
      <p:sp>
        <p:nvSpPr>
          <p:cNvPr id="25" name="Espace réservé du texte 10">
            <a:extLst>
              <a:ext uri="{FF2B5EF4-FFF2-40B4-BE49-F238E27FC236}">
                <a16:creationId xmlns:a16="http://schemas.microsoft.com/office/drawing/2014/main" id="{1728597A-B022-4B9D-A6DB-18D8AB826F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595" y="4041470"/>
            <a:ext cx="3497239" cy="341632"/>
          </a:xfrm>
        </p:spPr>
        <p:txBody>
          <a:bodyPr anchor="b"/>
          <a:lstStyle>
            <a:lvl1pPr marL="0" indent="0" algn="r">
              <a:buNone/>
              <a:defRPr sz="18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Titre de la section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id="{165DB76E-764C-4D29-B544-A048EBC452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1595" y="4430446"/>
            <a:ext cx="3497239" cy="1402948"/>
          </a:xfrm>
        </p:spPr>
        <p:txBody>
          <a:bodyPr wrap="square">
            <a:spAutoFit/>
          </a:bodyPr>
          <a:lstStyle>
            <a:lvl1pPr algn="r">
              <a:defRPr sz="1400">
                <a:solidFill>
                  <a:schemeClr val="bg1"/>
                </a:solidFill>
              </a:defRPr>
            </a:lvl1pPr>
            <a:lvl2pPr marL="363538" indent="-147638" algn="r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1, Police Arial, taille 14, avec gras</a:t>
            </a:r>
          </a:p>
          <a:p>
            <a:pPr lvl="1"/>
            <a:r>
              <a:rPr lang="en-GB"/>
              <a:t>Cliquez </a:t>
            </a:r>
            <a:r>
              <a:rPr lang="en-GB" err="1"/>
              <a:t>ici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votre</a:t>
            </a:r>
            <a:r>
              <a:rPr lang="en-GB"/>
              <a:t> texte de </a:t>
            </a:r>
            <a:r>
              <a:rPr lang="en-GB" err="1"/>
              <a:t>niveau</a:t>
            </a:r>
            <a:r>
              <a:rPr lang="en-GB"/>
              <a:t> 02, Police Arial, corps 12, sans gras, </a:t>
            </a:r>
            <a:r>
              <a:rPr lang="en-GB" err="1"/>
              <a:t>mais</a:t>
            </a:r>
            <a:r>
              <a:rPr lang="en-GB"/>
              <a:t> </a:t>
            </a:r>
            <a:r>
              <a:rPr lang="en-GB" err="1"/>
              <a:t>vous</a:t>
            </a:r>
            <a:r>
              <a:rPr lang="en-GB"/>
              <a:t> </a:t>
            </a:r>
            <a:r>
              <a:rPr lang="en-GB" err="1"/>
              <a:t>pouvez</a:t>
            </a:r>
            <a:r>
              <a:rPr lang="en-GB"/>
              <a:t> </a:t>
            </a:r>
            <a:r>
              <a:rPr lang="en-GB" err="1"/>
              <a:t>mettre</a:t>
            </a:r>
            <a:r>
              <a:rPr lang="en-GB"/>
              <a:t>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avant</a:t>
            </a:r>
            <a:r>
              <a:rPr lang="en-GB"/>
              <a:t> </a:t>
            </a:r>
            <a:r>
              <a:rPr lang="en-GB" err="1"/>
              <a:t>certains</a:t>
            </a:r>
            <a:r>
              <a:rPr lang="en-GB"/>
              <a:t> mots </a:t>
            </a:r>
            <a:r>
              <a:rPr lang="en-GB" err="1"/>
              <a:t>comme</a:t>
            </a:r>
            <a:r>
              <a:rPr lang="en-GB"/>
              <a:t> </a:t>
            </a:r>
            <a:r>
              <a:rPr lang="en-GB" err="1"/>
              <a:t>ceci</a:t>
            </a:r>
            <a:endParaRPr lang="en-GB"/>
          </a:p>
        </p:txBody>
      </p:sp>
      <p:sp>
        <p:nvSpPr>
          <p:cNvPr id="4" name="Titre 6">
            <a:extLst>
              <a:ext uri="{FF2B5EF4-FFF2-40B4-BE49-F238E27FC236}">
                <a16:creationId xmlns:a16="http://schemas.microsoft.com/office/drawing/2014/main" id="{FF3339DA-7E92-4688-B24E-1B92A29F2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413603" cy="438538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e la date 8">
            <a:extLst>
              <a:ext uri="{FF2B5EF4-FFF2-40B4-BE49-F238E27FC236}">
                <a16:creationId xmlns:a16="http://schemas.microsoft.com/office/drawing/2014/main" id="{FE80A60B-5051-4F6A-8E02-540A237E306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331962" y="6245995"/>
            <a:ext cx="1088760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7" name="Espace réservé du numéro de diapositive 12">
            <a:extLst>
              <a:ext uri="{FF2B5EF4-FFF2-40B4-BE49-F238E27FC236}">
                <a16:creationId xmlns:a16="http://schemas.microsoft.com/office/drawing/2014/main" id="{CAE37A05-2DE8-4C0A-AC7F-9981A0D6C5D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38447" y="6228668"/>
            <a:ext cx="520337" cy="2500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B90B7E0-B191-4413-9571-6AF2C8B9D19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" name="Espace réservé du texte 58">
            <a:extLst>
              <a:ext uri="{FF2B5EF4-FFF2-40B4-BE49-F238E27FC236}">
                <a16:creationId xmlns:a16="http://schemas.microsoft.com/office/drawing/2014/main" id="{76368801-6D4B-4F15-8D2B-E4020DC353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962550"/>
            <a:ext cx="11413601" cy="286232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27" name="Forme libre : forme 26">
            <a:extLst>
              <a:ext uri="{FF2B5EF4-FFF2-40B4-BE49-F238E27FC236}">
                <a16:creationId xmlns:a16="http://schemas.microsoft.com/office/drawing/2014/main" id="{4A7DA98D-8DC8-4DA8-9F59-9A20633C6B98}"/>
              </a:ext>
            </a:extLst>
          </p:cNvPr>
          <p:cNvSpPr/>
          <p:nvPr userDrawn="1"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bg1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8" name="Forme libre : forme 27">
            <a:extLst>
              <a:ext uri="{FF2B5EF4-FFF2-40B4-BE49-F238E27FC236}">
                <a16:creationId xmlns:a16="http://schemas.microsoft.com/office/drawing/2014/main" id="{8A178B5F-B245-4CD4-9F08-4BDCE0BFE002}"/>
              </a:ext>
            </a:extLst>
          </p:cNvPr>
          <p:cNvSpPr/>
          <p:nvPr userDrawn="1"/>
        </p:nvSpPr>
        <p:spPr>
          <a:xfrm>
            <a:off x="4699000" y="3437312"/>
            <a:ext cx="2794000" cy="1490288"/>
          </a:xfrm>
          <a:custGeom>
            <a:avLst/>
            <a:gdLst>
              <a:gd name="connsiteX0" fmla="*/ 4711 w 2794000"/>
              <a:gd name="connsiteY0" fmla="*/ 0 h 1490288"/>
              <a:gd name="connsiteX1" fmla="*/ 2789290 w 2794000"/>
              <a:gd name="connsiteY1" fmla="*/ 0 h 1490288"/>
              <a:gd name="connsiteX2" fmla="*/ 2794000 w 2794000"/>
              <a:gd name="connsiteY2" fmla="*/ 93289 h 1490288"/>
              <a:gd name="connsiteX3" fmla="*/ 1397000 w 2794000"/>
              <a:gd name="connsiteY3" fmla="*/ 1490288 h 1490288"/>
              <a:gd name="connsiteX4" fmla="*/ 0 w 2794000"/>
              <a:gd name="connsiteY4" fmla="*/ 93289 h 1490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4000" h="1490288">
                <a:moveTo>
                  <a:pt x="4711" y="0"/>
                </a:moveTo>
                <a:lnTo>
                  <a:pt x="2789290" y="0"/>
                </a:lnTo>
                <a:lnTo>
                  <a:pt x="2794000" y="93289"/>
                </a:lnTo>
                <a:cubicBezTo>
                  <a:pt x="2794000" y="864830"/>
                  <a:pt x="2168542" y="1490288"/>
                  <a:pt x="1397000" y="1490288"/>
                </a:cubicBezTo>
                <a:cubicBezTo>
                  <a:pt x="625458" y="1490288"/>
                  <a:pt x="0" y="864830"/>
                  <a:pt x="0" y="93289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341E2F1C-4911-4447-82BB-DC8563A8E6BF}"/>
              </a:ext>
            </a:extLst>
          </p:cNvPr>
          <p:cNvSpPr/>
          <p:nvPr userDrawn="1"/>
        </p:nvSpPr>
        <p:spPr>
          <a:xfrm>
            <a:off x="4972119" y="2133602"/>
            <a:ext cx="2247763" cy="569744"/>
          </a:xfrm>
          <a:custGeom>
            <a:avLst/>
            <a:gdLst>
              <a:gd name="connsiteX0" fmla="*/ 1123881 w 2247763"/>
              <a:gd name="connsiteY0" fmla="*/ 0 h 569744"/>
              <a:gd name="connsiteX1" fmla="*/ 2201874 w 2247763"/>
              <a:gd name="connsiteY1" fmla="*/ 508378 h 569744"/>
              <a:gd name="connsiteX2" fmla="*/ 2247763 w 2247763"/>
              <a:gd name="connsiteY2" fmla="*/ 569744 h 569744"/>
              <a:gd name="connsiteX3" fmla="*/ 0 w 2247763"/>
              <a:gd name="connsiteY3" fmla="*/ 569744 h 569744"/>
              <a:gd name="connsiteX4" fmla="*/ 45888 w 2247763"/>
              <a:gd name="connsiteY4" fmla="*/ 508378 h 569744"/>
              <a:gd name="connsiteX5" fmla="*/ 1123881 w 2247763"/>
              <a:gd name="connsiteY5" fmla="*/ 0 h 569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47763" h="569744">
                <a:moveTo>
                  <a:pt x="1123881" y="0"/>
                </a:moveTo>
                <a:cubicBezTo>
                  <a:pt x="1557874" y="0"/>
                  <a:pt x="1945644" y="197899"/>
                  <a:pt x="2201874" y="508378"/>
                </a:cubicBezTo>
                <a:lnTo>
                  <a:pt x="2247763" y="569744"/>
                </a:lnTo>
                <a:lnTo>
                  <a:pt x="0" y="569744"/>
                </a:lnTo>
                <a:lnTo>
                  <a:pt x="45888" y="508378"/>
                </a:lnTo>
                <a:cubicBezTo>
                  <a:pt x="302118" y="197899"/>
                  <a:pt x="689889" y="0"/>
                  <a:pt x="1123881" y="0"/>
                </a:cubicBezTo>
                <a:close/>
              </a:path>
            </a:pathLst>
          </a:custGeom>
          <a:solidFill>
            <a:schemeClr val="tx2"/>
          </a:solidFill>
          <a:ln w="1270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GB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E9EE8447-D238-42BE-B8D7-B9952AA3C5BB}"/>
              </a:ext>
            </a:extLst>
          </p:cNvPr>
          <p:cNvSpPr/>
          <p:nvPr userDrawn="1"/>
        </p:nvSpPr>
        <p:spPr>
          <a:xfrm>
            <a:off x="4330700" y="1765300"/>
            <a:ext cx="3530600" cy="3530600"/>
          </a:xfrm>
          <a:prstGeom prst="ellipse">
            <a:avLst/>
          </a:prstGeom>
          <a:noFill/>
          <a:ln w="4826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841328A7-D149-4BC1-B7C3-DBCFA1741F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86471" y="2812942"/>
            <a:ext cx="2419058" cy="535531"/>
          </a:xfr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1600" b="1" cap="all" spc="3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TEXT WITH </a:t>
            </a:r>
            <a:br>
              <a:rPr lang="en-GB"/>
            </a:br>
            <a:r>
              <a:rPr lang="en-GB"/>
              <a:t>HIGLIGH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F2774643-05F8-4E07-8DB9-F9FBF5363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9872" y="3698358"/>
            <a:ext cx="2419058" cy="840230"/>
          </a:xfrm>
        </p:spPr>
        <p:txBody>
          <a:bodyPr anchor="b"/>
          <a:lstStyle>
            <a:lvl1pPr marL="0" indent="0" algn="ctr">
              <a:buNone/>
              <a:defRPr sz="54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XX%</a:t>
            </a: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D2519A6B-D01F-4668-AB55-FAC49644A514}"/>
              </a:ext>
            </a:extLst>
          </p:cNvPr>
          <p:cNvGrpSpPr/>
          <p:nvPr userDrawn="1"/>
        </p:nvGrpSpPr>
        <p:grpSpPr>
          <a:xfrm>
            <a:off x="4753427" y="2191610"/>
            <a:ext cx="212786" cy="212784"/>
            <a:chOff x="8228806" y="-721360"/>
            <a:chExt cx="350434" cy="350434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7591E24-008B-4A72-8605-031232A28C39}"/>
                </a:ext>
              </a:extLst>
            </p:cNvPr>
            <p:cNvSpPr/>
            <p:nvPr/>
          </p:nvSpPr>
          <p:spPr>
            <a:xfrm>
              <a:off x="8228806" y="-721360"/>
              <a:ext cx="350434" cy="350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64F1FA18-05B4-4296-9543-6CC480D463EA}"/>
                </a:ext>
              </a:extLst>
            </p:cNvPr>
            <p:cNvSpPr/>
            <p:nvPr/>
          </p:nvSpPr>
          <p:spPr>
            <a:xfrm>
              <a:off x="8298238" y="-651925"/>
              <a:ext cx="211571" cy="2115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22F3A036-1B96-47E4-9801-36AF7549F960}"/>
              </a:ext>
            </a:extLst>
          </p:cNvPr>
          <p:cNvGrpSpPr/>
          <p:nvPr userDrawn="1"/>
        </p:nvGrpSpPr>
        <p:grpSpPr>
          <a:xfrm>
            <a:off x="7225355" y="2191610"/>
            <a:ext cx="212786" cy="212784"/>
            <a:chOff x="8228806" y="-721360"/>
            <a:chExt cx="350434" cy="350434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F12657D5-78B5-4C95-A960-CA93AE40176A}"/>
                </a:ext>
              </a:extLst>
            </p:cNvPr>
            <p:cNvSpPr/>
            <p:nvPr/>
          </p:nvSpPr>
          <p:spPr>
            <a:xfrm>
              <a:off x="8228806" y="-721360"/>
              <a:ext cx="350434" cy="350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F5C1BCA9-4F75-4798-AC2D-FFE1A2D55D3C}"/>
                </a:ext>
              </a:extLst>
            </p:cNvPr>
            <p:cNvSpPr/>
            <p:nvPr/>
          </p:nvSpPr>
          <p:spPr>
            <a:xfrm>
              <a:off x="8298238" y="-651925"/>
              <a:ext cx="211571" cy="2115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B0B2A124-DC5B-4676-AC3B-A1C9A653996A}"/>
              </a:ext>
            </a:extLst>
          </p:cNvPr>
          <p:cNvGrpSpPr/>
          <p:nvPr userDrawn="1"/>
        </p:nvGrpSpPr>
        <p:grpSpPr>
          <a:xfrm>
            <a:off x="4753427" y="4646266"/>
            <a:ext cx="212786" cy="212784"/>
            <a:chOff x="8228806" y="-721360"/>
            <a:chExt cx="350434" cy="350434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10E6010C-405E-43C6-91D6-BD205C6B981F}"/>
                </a:ext>
              </a:extLst>
            </p:cNvPr>
            <p:cNvSpPr/>
            <p:nvPr/>
          </p:nvSpPr>
          <p:spPr>
            <a:xfrm>
              <a:off x="8228806" y="-721360"/>
              <a:ext cx="350434" cy="350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F78FDC10-5CA2-4890-8640-D2FCFA9BE8A8}"/>
                </a:ext>
              </a:extLst>
            </p:cNvPr>
            <p:cNvSpPr/>
            <p:nvPr/>
          </p:nvSpPr>
          <p:spPr>
            <a:xfrm>
              <a:off x="8298238" y="-651925"/>
              <a:ext cx="211571" cy="2115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271B20E0-FE4A-48D3-A941-B51C1FA5CE92}"/>
              </a:ext>
            </a:extLst>
          </p:cNvPr>
          <p:cNvGrpSpPr/>
          <p:nvPr userDrawn="1"/>
        </p:nvGrpSpPr>
        <p:grpSpPr>
          <a:xfrm>
            <a:off x="7240595" y="4646266"/>
            <a:ext cx="212786" cy="212784"/>
            <a:chOff x="8228806" y="-721360"/>
            <a:chExt cx="350434" cy="350434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032BC825-5A00-4BCD-B0AF-5AD11350DC73}"/>
                </a:ext>
              </a:extLst>
            </p:cNvPr>
            <p:cNvSpPr/>
            <p:nvPr/>
          </p:nvSpPr>
          <p:spPr>
            <a:xfrm>
              <a:off x="8228806" y="-721360"/>
              <a:ext cx="350434" cy="350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14EA4594-E621-4140-9717-7944F79D85B2}"/>
                </a:ext>
              </a:extLst>
            </p:cNvPr>
            <p:cNvSpPr/>
            <p:nvPr/>
          </p:nvSpPr>
          <p:spPr>
            <a:xfrm>
              <a:off x="8298238" y="-651925"/>
              <a:ext cx="211571" cy="21156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45" name="Espace réservé du pied de page 11">
            <a:extLst>
              <a:ext uri="{FF2B5EF4-FFF2-40B4-BE49-F238E27FC236}">
                <a16:creationId xmlns:a16="http://schemas.microsoft.com/office/drawing/2014/main" id="{8953AEB1-5CFF-4D1E-82F1-BC7D3BBE48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CA Transversal 7</a:t>
            </a:r>
          </a:p>
        </p:txBody>
      </p: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27FB281F-CDD2-48A0-A0A0-EBF2D891E1B6}"/>
              </a:ext>
            </a:extLst>
          </p:cNvPr>
          <p:cNvGrpSpPr/>
          <p:nvPr userDrawn="1"/>
        </p:nvGrpSpPr>
        <p:grpSpPr>
          <a:xfrm>
            <a:off x="12338174" y="0"/>
            <a:ext cx="1885826" cy="1681996"/>
            <a:chOff x="7045594" y="2588002"/>
            <a:chExt cx="1885826" cy="1681996"/>
          </a:xfrm>
        </p:grpSpPr>
        <p:grpSp>
          <p:nvGrpSpPr>
            <p:cNvPr id="48" name="Groupe 47">
              <a:extLst>
                <a:ext uri="{FF2B5EF4-FFF2-40B4-BE49-F238E27FC236}">
                  <a16:creationId xmlns:a16="http://schemas.microsoft.com/office/drawing/2014/main" id="{3375DB49-8CA1-4141-B5C0-9B9BD3C5407A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681996"/>
              <a:chOff x="2689543" y="1651754"/>
              <a:chExt cx="1885826" cy="1681996"/>
            </a:xfrm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4B4F71E-C5AF-4D50-85DF-96917512F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1301A68F-EC45-4292-9113-CEB37A7D34DD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323439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Pour passer d’un niveau</a:t>
                </a:r>
                <a:b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</a:br>
                <a:r>
                  <a:rPr kumimoji="0" lang="fr-FR" sz="10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de puces à un autre 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fr-FR" sz="10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électionner la ligne souhaitée et utiliser la tabulation vers l’avant ou vers l’arrière 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9" name="Image 48">
              <a:extLst>
                <a:ext uri="{FF2B5EF4-FFF2-40B4-BE49-F238E27FC236}">
                  <a16:creationId xmlns:a16="http://schemas.microsoft.com/office/drawing/2014/main" id="{C47AF33F-5ED5-4991-9508-3BD14C5EFF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962222"/>
              <a:ext cx="180768" cy="199216"/>
            </a:xfrm>
            <a:prstGeom prst="rect">
              <a:avLst/>
            </a:prstGeom>
          </p:spPr>
        </p:pic>
        <p:pic>
          <p:nvPicPr>
            <p:cNvPr id="50" name="Image 49">
              <a:extLst>
                <a:ext uri="{FF2B5EF4-FFF2-40B4-BE49-F238E27FC236}">
                  <a16:creationId xmlns:a16="http://schemas.microsoft.com/office/drawing/2014/main" id="{F9B1EE3A-DE9D-4FE1-883D-1B33AA0787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962222"/>
              <a:ext cx="180768" cy="199216"/>
            </a:xfrm>
            <a:prstGeom prst="rect">
              <a:avLst/>
            </a:prstGeom>
          </p:spPr>
        </p:pic>
      </p:grp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9E1426DB-6C67-4E0A-9C21-3C16A97DB8CD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907768F0-9FAA-4BC0-9B51-97D5644D8D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F9BBB19-82BD-45DD-A501-F0DBB7E92BF3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6893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_titre + 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6">
            <a:extLst>
              <a:ext uri="{FF2B5EF4-FFF2-40B4-BE49-F238E27FC236}">
                <a16:creationId xmlns:a16="http://schemas.microsoft.com/office/drawing/2014/main" id="{FF3339DA-7E92-4688-B24E-1B92A29F2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413603" cy="4385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e la date 8">
            <a:extLst>
              <a:ext uri="{FF2B5EF4-FFF2-40B4-BE49-F238E27FC236}">
                <a16:creationId xmlns:a16="http://schemas.microsoft.com/office/drawing/2014/main" id="{FE80A60B-5051-4F6A-8E02-540A237E306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331963" y="6245995"/>
            <a:ext cx="1088760" cy="215444"/>
          </a:xfrm>
        </p:spPr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7" name="Espace réservé du numéro de diapositive 12">
            <a:extLst>
              <a:ext uri="{FF2B5EF4-FFF2-40B4-BE49-F238E27FC236}">
                <a16:creationId xmlns:a16="http://schemas.microsoft.com/office/drawing/2014/main" id="{CAE37A05-2DE8-4C0A-AC7F-9981A0D6C5D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38447" y="6228668"/>
            <a:ext cx="520337" cy="250098"/>
          </a:xfrm>
        </p:spPr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B90B7E0-B191-4413-9571-6AF2C8B9D19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" name="Espace réservé du texte 58">
            <a:extLst>
              <a:ext uri="{FF2B5EF4-FFF2-40B4-BE49-F238E27FC236}">
                <a16:creationId xmlns:a16="http://schemas.microsoft.com/office/drawing/2014/main" id="{76368801-6D4B-4F15-8D2B-E4020DC353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413601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1" name="Espace réservé du pied de page 11">
            <a:extLst>
              <a:ext uri="{FF2B5EF4-FFF2-40B4-BE49-F238E27FC236}">
                <a16:creationId xmlns:a16="http://schemas.microsoft.com/office/drawing/2014/main" id="{B6BCD3CC-B2D4-4C5D-91B7-6B845299CE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</p:spTree>
    <p:extLst>
      <p:ext uri="{BB962C8B-B14F-4D97-AF65-F5344CB8AC3E}">
        <p14:creationId xmlns:p14="http://schemas.microsoft.com/office/powerpoint/2010/main" val="839626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vec Visuel B">
    <p:bg>
      <p:bgPr>
        <a:blipFill dpi="0" rotWithShape="1">
          <a:blip r:embed="rId2">
            <a:lum/>
          </a:blip>
          <a:srcRect/>
          <a:stretch>
            <a:fillRect t="-11000" b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4685E3A7-EC1F-4FFF-AACF-03ECBD2B4F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6000">
                <a:srgbClr val="007531">
                  <a:alpha val="0"/>
                </a:srgbClr>
              </a:gs>
              <a:gs pos="65000">
                <a:srgbClr val="007531">
                  <a:alpha val="81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Cadre 45">
            <a:extLst>
              <a:ext uri="{FF2B5EF4-FFF2-40B4-BE49-F238E27FC236}">
                <a16:creationId xmlns:a16="http://schemas.microsoft.com/office/drawing/2014/main" id="{17C55E6C-E57F-4377-A05B-DF446746152E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866FA65A-92B8-432E-9E00-DC66520185E9}"/>
              </a:ext>
            </a:extLst>
          </p:cNvPr>
          <p:cNvGrpSpPr/>
          <p:nvPr userDrawn="1"/>
        </p:nvGrpSpPr>
        <p:grpSpPr>
          <a:xfrm>
            <a:off x="1007110" y="1157423"/>
            <a:ext cx="3771552" cy="970982"/>
            <a:chOff x="1291590" y="1157423"/>
            <a:chExt cx="3771552" cy="970982"/>
          </a:xfrm>
        </p:grpSpPr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3206FA29-FE3B-4174-B2F5-8BF6C46F0CAA}"/>
                </a:ext>
              </a:extLst>
            </p:cNvPr>
            <p:cNvSpPr/>
            <p:nvPr/>
          </p:nvSpPr>
          <p:spPr>
            <a:xfrm>
              <a:off x="1291590" y="1157423"/>
              <a:ext cx="830865" cy="970982"/>
            </a:xfrm>
            <a:custGeom>
              <a:avLst/>
              <a:gdLst>
                <a:gd name="connsiteX0" fmla="*/ 824455 w 830865"/>
                <a:gd name="connsiteY0" fmla="*/ 115635 h 970982"/>
                <a:gd name="connsiteX1" fmla="*/ 797118 w 830865"/>
                <a:gd name="connsiteY1" fmla="*/ 30602 h 970982"/>
                <a:gd name="connsiteX2" fmla="*/ 746557 w 830865"/>
                <a:gd name="connsiteY2" fmla="*/ 0 h 970982"/>
                <a:gd name="connsiteX3" fmla="*/ 644528 w 830865"/>
                <a:gd name="connsiteY3" fmla="*/ 74026 h 970982"/>
                <a:gd name="connsiteX4" fmla="*/ 432004 w 830865"/>
                <a:gd name="connsiteY4" fmla="*/ 499250 h 970982"/>
                <a:gd name="connsiteX5" fmla="*/ 228612 w 830865"/>
                <a:gd name="connsiteY5" fmla="*/ 373273 h 970982"/>
                <a:gd name="connsiteX6" fmla="*/ 147146 w 830865"/>
                <a:gd name="connsiteY6" fmla="*/ 389058 h 970982"/>
                <a:gd name="connsiteX7" fmla="*/ 0 w 830865"/>
                <a:gd name="connsiteY7" fmla="*/ 601640 h 970982"/>
                <a:gd name="connsiteX8" fmla="*/ 194502 w 830865"/>
                <a:gd name="connsiteY8" fmla="*/ 816883 h 970982"/>
                <a:gd name="connsiteX9" fmla="*/ 197949 w 830865"/>
                <a:gd name="connsiteY9" fmla="*/ 816944 h 970982"/>
                <a:gd name="connsiteX10" fmla="*/ 283406 w 830865"/>
                <a:gd name="connsiteY10" fmla="*/ 795171 h 970982"/>
                <a:gd name="connsiteX11" fmla="*/ 338563 w 830865"/>
                <a:gd name="connsiteY11" fmla="*/ 749329 h 970982"/>
                <a:gd name="connsiteX12" fmla="*/ 375456 w 830865"/>
                <a:gd name="connsiteY12" fmla="*/ 693144 h 970982"/>
                <a:gd name="connsiteX13" fmla="*/ 492907 w 830865"/>
                <a:gd name="connsiteY13" fmla="*/ 915463 h 970982"/>
                <a:gd name="connsiteX14" fmla="*/ 582598 w 830865"/>
                <a:gd name="connsiteY14" fmla="*/ 970983 h 970982"/>
                <a:gd name="connsiteX15" fmla="*/ 582658 w 830865"/>
                <a:gd name="connsiteY15" fmla="*/ 970983 h 970982"/>
                <a:gd name="connsiteX16" fmla="*/ 661886 w 830865"/>
                <a:gd name="connsiteY16" fmla="*/ 917096 h 970982"/>
                <a:gd name="connsiteX17" fmla="*/ 799779 w 830865"/>
                <a:gd name="connsiteY17" fmla="*/ 531243 h 970982"/>
                <a:gd name="connsiteX18" fmla="*/ 830865 w 830865"/>
                <a:gd name="connsiteY18" fmla="*/ 227823 h 970982"/>
                <a:gd name="connsiteX19" fmla="*/ 824455 w 830865"/>
                <a:gd name="connsiteY19" fmla="*/ 115635 h 970982"/>
                <a:gd name="connsiteX20" fmla="*/ 247905 w 830865"/>
                <a:gd name="connsiteY20" fmla="*/ 773339 h 970982"/>
                <a:gd name="connsiteX21" fmla="*/ 226979 w 830865"/>
                <a:gd name="connsiteY21" fmla="*/ 775516 h 970982"/>
                <a:gd name="connsiteX22" fmla="*/ 100517 w 830865"/>
                <a:gd name="connsiteY22" fmla="*/ 667925 h 970982"/>
                <a:gd name="connsiteX23" fmla="*/ 98037 w 830865"/>
                <a:gd name="connsiteY23" fmla="*/ 640407 h 970982"/>
                <a:gd name="connsiteX24" fmla="*/ 187063 w 830865"/>
                <a:gd name="connsiteY24" fmla="*/ 514007 h 970982"/>
                <a:gd name="connsiteX25" fmla="*/ 217000 w 830865"/>
                <a:gd name="connsiteY25" fmla="*/ 509229 h 970982"/>
                <a:gd name="connsiteX26" fmla="*/ 359671 w 830865"/>
                <a:gd name="connsiteY26" fmla="*/ 654982 h 970982"/>
                <a:gd name="connsiteX27" fmla="*/ 247905 w 830865"/>
                <a:gd name="connsiteY27" fmla="*/ 773339 h 970982"/>
                <a:gd name="connsiteX28" fmla="*/ 727022 w 830865"/>
                <a:gd name="connsiteY28" fmla="*/ 620268 h 970982"/>
                <a:gd name="connsiteX29" fmla="*/ 622574 w 830865"/>
                <a:gd name="connsiteY29" fmla="*/ 688366 h 970982"/>
                <a:gd name="connsiteX30" fmla="*/ 615982 w 830865"/>
                <a:gd name="connsiteY30" fmla="*/ 688064 h 970982"/>
                <a:gd name="connsiteX31" fmla="*/ 451841 w 830865"/>
                <a:gd name="connsiteY31" fmla="*/ 533541 h 970982"/>
                <a:gd name="connsiteX32" fmla="*/ 537359 w 830865"/>
                <a:gd name="connsiteY32" fmla="*/ 364444 h 970982"/>
                <a:gd name="connsiteX33" fmla="*/ 607636 w 830865"/>
                <a:gd name="connsiteY33" fmla="*/ 287454 h 970982"/>
                <a:gd name="connsiteX34" fmla="*/ 665091 w 830865"/>
                <a:gd name="connsiteY34" fmla="*/ 261811 h 970982"/>
                <a:gd name="connsiteX35" fmla="*/ 696601 w 830865"/>
                <a:gd name="connsiteY35" fmla="*/ 262658 h 970982"/>
                <a:gd name="connsiteX36" fmla="*/ 753815 w 830865"/>
                <a:gd name="connsiteY36" fmla="*/ 305537 h 970982"/>
                <a:gd name="connsiteX37" fmla="*/ 780849 w 830865"/>
                <a:gd name="connsiteY37" fmla="*/ 404299 h 970982"/>
                <a:gd name="connsiteX38" fmla="*/ 727022 w 830865"/>
                <a:gd name="connsiteY38" fmla="*/ 620268 h 97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30865" h="970982">
                  <a:moveTo>
                    <a:pt x="824455" y="115635"/>
                  </a:moveTo>
                  <a:cubicBezTo>
                    <a:pt x="819616" y="78924"/>
                    <a:pt x="810302" y="50318"/>
                    <a:pt x="797118" y="30602"/>
                  </a:cubicBezTo>
                  <a:cubicBezTo>
                    <a:pt x="783994" y="10886"/>
                    <a:pt x="768451" y="0"/>
                    <a:pt x="746557" y="0"/>
                  </a:cubicBezTo>
                  <a:cubicBezTo>
                    <a:pt x="716136" y="0"/>
                    <a:pt x="683114" y="21047"/>
                    <a:pt x="644528" y="74026"/>
                  </a:cubicBezTo>
                  <a:cubicBezTo>
                    <a:pt x="582779" y="158938"/>
                    <a:pt x="510446" y="313158"/>
                    <a:pt x="432004" y="499250"/>
                  </a:cubicBezTo>
                  <a:cubicBezTo>
                    <a:pt x="400434" y="448146"/>
                    <a:pt x="331790" y="373334"/>
                    <a:pt x="228612" y="373273"/>
                  </a:cubicBezTo>
                  <a:cubicBezTo>
                    <a:pt x="203150" y="373273"/>
                    <a:pt x="175934" y="378051"/>
                    <a:pt x="147146" y="389058"/>
                  </a:cubicBezTo>
                  <a:cubicBezTo>
                    <a:pt x="36892" y="431151"/>
                    <a:pt x="-60" y="533058"/>
                    <a:pt x="0" y="601640"/>
                  </a:cubicBezTo>
                  <a:cubicBezTo>
                    <a:pt x="0" y="718243"/>
                    <a:pt x="88300" y="814767"/>
                    <a:pt x="194502" y="816883"/>
                  </a:cubicBezTo>
                  <a:cubicBezTo>
                    <a:pt x="195651" y="816944"/>
                    <a:pt x="196800" y="816944"/>
                    <a:pt x="197949" y="816944"/>
                  </a:cubicBezTo>
                  <a:cubicBezTo>
                    <a:pt x="226677" y="816944"/>
                    <a:pt x="258428" y="808719"/>
                    <a:pt x="283406" y="795171"/>
                  </a:cubicBezTo>
                  <a:cubicBezTo>
                    <a:pt x="305481" y="783197"/>
                    <a:pt x="324109" y="766988"/>
                    <a:pt x="338563" y="749329"/>
                  </a:cubicBezTo>
                  <a:cubicBezTo>
                    <a:pt x="355740" y="728403"/>
                    <a:pt x="367654" y="708022"/>
                    <a:pt x="375456" y="693144"/>
                  </a:cubicBezTo>
                  <a:cubicBezTo>
                    <a:pt x="418820" y="797107"/>
                    <a:pt x="461155" y="875487"/>
                    <a:pt x="492907" y="915463"/>
                  </a:cubicBezTo>
                  <a:cubicBezTo>
                    <a:pt x="521574" y="951327"/>
                    <a:pt x="552237" y="970983"/>
                    <a:pt x="582598" y="970983"/>
                  </a:cubicBezTo>
                  <a:lnTo>
                    <a:pt x="582658" y="970983"/>
                  </a:lnTo>
                  <a:cubicBezTo>
                    <a:pt x="611386" y="970983"/>
                    <a:pt x="638722" y="953081"/>
                    <a:pt x="661886" y="917096"/>
                  </a:cubicBezTo>
                  <a:cubicBezTo>
                    <a:pt x="724845" y="819665"/>
                    <a:pt x="768330" y="672521"/>
                    <a:pt x="799779" y="531243"/>
                  </a:cubicBezTo>
                  <a:cubicBezTo>
                    <a:pt x="818346" y="447662"/>
                    <a:pt x="830865" y="330515"/>
                    <a:pt x="830865" y="227823"/>
                  </a:cubicBezTo>
                  <a:cubicBezTo>
                    <a:pt x="830805" y="187181"/>
                    <a:pt x="828809" y="148777"/>
                    <a:pt x="824455" y="115635"/>
                  </a:cubicBezTo>
                  <a:close/>
                  <a:moveTo>
                    <a:pt x="247905" y="773339"/>
                  </a:moveTo>
                  <a:cubicBezTo>
                    <a:pt x="241313" y="774730"/>
                    <a:pt x="234297" y="775516"/>
                    <a:pt x="226979" y="775516"/>
                  </a:cubicBezTo>
                  <a:cubicBezTo>
                    <a:pt x="176539" y="775455"/>
                    <a:pt x="113883" y="740438"/>
                    <a:pt x="100517" y="667925"/>
                  </a:cubicBezTo>
                  <a:cubicBezTo>
                    <a:pt x="98884" y="658974"/>
                    <a:pt x="98037" y="649721"/>
                    <a:pt x="98037" y="640407"/>
                  </a:cubicBezTo>
                  <a:cubicBezTo>
                    <a:pt x="98098" y="588093"/>
                    <a:pt x="124648" y="533965"/>
                    <a:pt x="187063" y="514007"/>
                  </a:cubicBezTo>
                  <a:cubicBezTo>
                    <a:pt x="197284" y="510741"/>
                    <a:pt x="207263" y="509229"/>
                    <a:pt x="217000" y="509229"/>
                  </a:cubicBezTo>
                  <a:cubicBezTo>
                    <a:pt x="274213" y="509229"/>
                    <a:pt x="327072" y="565414"/>
                    <a:pt x="359671" y="654982"/>
                  </a:cubicBezTo>
                  <a:cubicBezTo>
                    <a:pt x="343583" y="693689"/>
                    <a:pt x="305058" y="761183"/>
                    <a:pt x="247905" y="773339"/>
                  </a:cubicBezTo>
                  <a:close/>
                  <a:moveTo>
                    <a:pt x="727022" y="620268"/>
                  </a:moveTo>
                  <a:cubicBezTo>
                    <a:pt x="698537" y="663207"/>
                    <a:pt x="656624" y="688366"/>
                    <a:pt x="622574" y="688366"/>
                  </a:cubicBezTo>
                  <a:cubicBezTo>
                    <a:pt x="620397" y="688366"/>
                    <a:pt x="618220" y="688306"/>
                    <a:pt x="615982" y="688064"/>
                  </a:cubicBezTo>
                  <a:cubicBezTo>
                    <a:pt x="534214" y="680807"/>
                    <a:pt x="472949" y="571099"/>
                    <a:pt x="451841" y="533541"/>
                  </a:cubicBezTo>
                  <a:cubicBezTo>
                    <a:pt x="482867" y="456008"/>
                    <a:pt x="508268" y="406899"/>
                    <a:pt x="537359" y="364444"/>
                  </a:cubicBezTo>
                  <a:cubicBezTo>
                    <a:pt x="562035" y="328398"/>
                    <a:pt x="586166" y="303421"/>
                    <a:pt x="607636" y="287454"/>
                  </a:cubicBezTo>
                  <a:cubicBezTo>
                    <a:pt x="628380" y="272032"/>
                    <a:pt x="647492" y="264231"/>
                    <a:pt x="665091" y="261811"/>
                  </a:cubicBezTo>
                  <a:cubicBezTo>
                    <a:pt x="676522" y="260179"/>
                    <a:pt x="687106" y="260541"/>
                    <a:pt x="696601" y="262658"/>
                  </a:cubicBezTo>
                  <a:cubicBezTo>
                    <a:pt x="721277" y="268222"/>
                    <a:pt x="740993" y="285761"/>
                    <a:pt x="753815" y="305537"/>
                  </a:cubicBezTo>
                  <a:cubicBezTo>
                    <a:pt x="771354" y="332571"/>
                    <a:pt x="780849" y="368737"/>
                    <a:pt x="780849" y="404299"/>
                  </a:cubicBezTo>
                  <a:cubicBezTo>
                    <a:pt x="780909" y="501064"/>
                    <a:pt x="758109" y="573457"/>
                    <a:pt x="727022" y="62026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832B58-83CC-43B4-8EAB-C92CB5350BD8}"/>
                </a:ext>
              </a:extLst>
            </p:cNvPr>
            <p:cNvSpPr/>
            <p:nvPr/>
          </p:nvSpPr>
          <p:spPr>
            <a:xfrm>
              <a:off x="2631027" y="1587848"/>
              <a:ext cx="339168" cy="354041"/>
            </a:xfrm>
            <a:custGeom>
              <a:avLst/>
              <a:gdLst>
                <a:gd name="connsiteX0" fmla="*/ 284858 w 339168"/>
                <a:gd name="connsiteY0" fmla="*/ 302272 h 354041"/>
                <a:gd name="connsiteX1" fmla="*/ 280503 w 339168"/>
                <a:gd name="connsiteY1" fmla="*/ 177383 h 354041"/>
                <a:gd name="connsiteX2" fmla="*/ 280503 w 339168"/>
                <a:gd name="connsiteY2" fmla="*/ 96766 h 354041"/>
                <a:gd name="connsiteX3" fmla="*/ 157428 w 339168"/>
                <a:gd name="connsiteY3" fmla="*/ 0 h 354041"/>
                <a:gd name="connsiteX4" fmla="*/ 24434 w 339168"/>
                <a:gd name="connsiteY4" fmla="*/ 46206 h 354041"/>
                <a:gd name="connsiteX5" fmla="*/ 33808 w 339168"/>
                <a:gd name="connsiteY5" fmla="*/ 70578 h 354041"/>
                <a:gd name="connsiteX6" fmla="*/ 119386 w 339168"/>
                <a:gd name="connsiteY6" fmla="*/ 57515 h 354041"/>
                <a:gd name="connsiteX7" fmla="*/ 196195 w 339168"/>
                <a:gd name="connsiteY7" fmla="*/ 116119 h 354041"/>
                <a:gd name="connsiteX8" fmla="*/ 196195 w 339168"/>
                <a:gd name="connsiteY8" fmla="*/ 156942 h 354041"/>
                <a:gd name="connsiteX9" fmla="*/ 141159 w 339168"/>
                <a:gd name="connsiteY9" fmla="*/ 163171 h 354041"/>
                <a:gd name="connsiteX10" fmla="*/ 0 w 339168"/>
                <a:gd name="connsiteY10" fmla="*/ 274572 h 354041"/>
                <a:gd name="connsiteX11" fmla="*/ 84973 w 339168"/>
                <a:gd name="connsiteY11" fmla="*/ 354041 h 354041"/>
                <a:gd name="connsiteX12" fmla="*/ 197344 w 339168"/>
                <a:gd name="connsiteY12" fmla="*/ 295317 h 354041"/>
                <a:gd name="connsiteX13" fmla="*/ 257400 w 339168"/>
                <a:gd name="connsiteY13" fmla="*/ 353436 h 354041"/>
                <a:gd name="connsiteX14" fmla="*/ 339168 w 339168"/>
                <a:gd name="connsiteY14" fmla="*/ 319085 h 354041"/>
                <a:gd name="connsiteX15" fmla="*/ 336689 w 339168"/>
                <a:gd name="connsiteY15" fmla="*/ 302211 h 354041"/>
                <a:gd name="connsiteX16" fmla="*/ 284858 w 339168"/>
                <a:gd name="connsiteY16" fmla="*/ 302211 h 354041"/>
                <a:gd name="connsiteX17" fmla="*/ 196195 w 339168"/>
                <a:gd name="connsiteY17" fmla="*/ 276689 h 354041"/>
                <a:gd name="connsiteX18" fmla="*/ 128095 w 339168"/>
                <a:gd name="connsiteY18" fmla="*/ 294167 h 354041"/>
                <a:gd name="connsiteX19" fmla="*/ 85639 w 339168"/>
                <a:gd name="connsiteY19" fmla="*/ 250260 h 354041"/>
                <a:gd name="connsiteX20" fmla="*/ 157428 w 339168"/>
                <a:gd name="connsiteY20" fmla="*/ 191959 h 354041"/>
                <a:gd name="connsiteX21" fmla="*/ 196195 w 339168"/>
                <a:gd name="connsiteY21" fmla="*/ 185064 h 354041"/>
                <a:gd name="connsiteX22" fmla="*/ 196195 w 339168"/>
                <a:gd name="connsiteY22" fmla="*/ 276689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9168" h="354041">
                  <a:moveTo>
                    <a:pt x="284858" y="302272"/>
                  </a:moveTo>
                  <a:lnTo>
                    <a:pt x="280503" y="177383"/>
                  </a:lnTo>
                  <a:lnTo>
                    <a:pt x="280503" y="96766"/>
                  </a:lnTo>
                  <a:cubicBezTo>
                    <a:pt x="280503" y="11249"/>
                    <a:pt x="208654" y="0"/>
                    <a:pt x="157428" y="0"/>
                  </a:cubicBezTo>
                  <a:cubicBezTo>
                    <a:pt x="103722" y="0"/>
                    <a:pt x="49956" y="28123"/>
                    <a:pt x="24434" y="46206"/>
                  </a:cubicBezTo>
                  <a:lnTo>
                    <a:pt x="33808" y="70578"/>
                  </a:lnTo>
                  <a:cubicBezTo>
                    <a:pt x="66285" y="61809"/>
                    <a:pt x="96888" y="57515"/>
                    <a:pt x="119386" y="57515"/>
                  </a:cubicBezTo>
                  <a:cubicBezTo>
                    <a:pt x="170612" y="57515"/>
                    <a:pt x="196195" y="73663"/>
                    <a:pt x="196195" y="116119"/>
                  </a:cubicBezTo>
                  <a:lnTo>
                    <a:pt x="196195" y="156942"/>
                  </a:lnTo>
                  <a:lnTo>
                    <a:pt x="141159" y="163171"/>
                  </a:lnTo>
                  <a:cubicBezTo>
                    <a:pt x="73785" y="171275"/>
                    <a:pt x="0" y="192443"/>
                    <a:pt x="0" y="274572"/>
                  </a:cubicBezTo>
                  <a:cubicBezTo>
                    <a:pt x="0" y="318298"/>
                    <a:pt x="32538" y="354041"/>
                    <a:pt x="84973" y="354041"/>
                  </a:cubicBezTo>
                  <a:cubicBezTo>
                    <a:pt x="139284" y="354041"/>
                    <a:pt x="174906" y="322834"/>
                    <a:pt x="197344" y="295317"/>
                  </a:cubicBezTo>
                  <a:cubicBezTo>
                    <a:pt x="199824" y="331543"/>
                    <a:pt x="211738" y="353436"/>
                    <a:pt x="257400" y="353436"/>
                  </a:cubicBezTo>
                  <a:cubicBezTo>
                    <a:pt x="281713" y="353436"/>
                    <a:pt x="319815" y="337168"/>
                    <a:pt x="339168" y="319085"/>
                  </a:cubicBezTo>
                  <a:lnTo>
                    <a:pt x="336689" y="302211"/>
                  </a:lnTo>
                  <a:lnTo>
                    <a:pt x="284858" y="302211"/>
                  </a:lnTo>
                  <a:close/>
                  <a:moveTo>
                    <a:pt x="196195" y="276689"/>
                  </a:moveTo>
                  <a:cubicBezTo>
                    <a:pt x="176176" y="286063"/>
                    <a:pt x="154343" y="294167"/>
                    <a:pt x="128095" y="294167"/>
                  </a:cubicBezTo>
                  <a:cubicBezTo>
                    <a:pt x="101847" y="294167"/>
                    <a:pt x="85639" y="276750"/>
                    <a:pt x="85639" y="250260"/>
                  </a:cubicBezTo>
                  <a:cubicBezTo>
                    <a:pt x="85639" y="216574"/>
                    <a:pt x="118056" y="198128"/>
                    <a:pt x="157428" y="191959"/>
                  </a:cubicBezTo>
                  <a:lnTo>
                    <a:pt x="196195" y="185064"/>
                  </a:lnTo>
                  <a:lnTo>
                    <a:pt x="196195" y="276689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D5B789E-70A0-4225-A898-C1AA9A60748B}"/>
                </a:ext>
              </a:extLst>
            </p:cNvPr>
            <p:cNvSpPr/>
            <p:nvPr/>
          </p:nvSpPr>
          <p:spPr>
            <a:xfrm>
              <a:off x="4433371" y="1587304"/>
              <a:ext cx="259577" cy="354766"/>
            </a:xfrm>
            <a:custGeom>
              <a:avLst/>
              <a:gdLst>
                <a:gd name="connsiteX0" fmla="*/ 73301 w 259577"/>
                <a:gd name="connsiteY0" fmla="*/ 75477 h 354766"/>
                <a:gd name="connsiteX1" fmla="*/ 125737 w 259577"/>
                <a:gd name="connsiteY1" fmla="*/ 35501 h 354766"/>
                <a:gd name="connsiteX2" fmla="*/ 209319 w 259577"/>
                <a:gd name="connsiteY2" fmla="*/ 107349 h 354766"/>
                <a:gd name="connsiteX3" fmla="*/ 229943 w 259577"/>
                <a:gd name="connsiteY3" fmla="*/ 109224 h 354766"/>
                <a:gd name="connsiteX4" fmla="*/ 240526 w 259577"/>
                <a:gd name="connsiteY4" fmla="*/ 26187 h 354766"/>
                <a:gd name="connsiteX5" fmla="*/ 132027 w 259577"/>
                <a:gd name="connsiteY5" fmla="*/ 0 h 354766"/>
                <a:gd name="connsiteX6" fmla="*/ 303 w 259577"/>
                <a:gd name="connsiteY6" fmla="*/ 106805 h 354766"/>
                <a:gd name="connsiteX7" fmla="*/ 176539 w 259577"/>
                <a:gd name="connsiteY7" fmla="*/ 273544 h 354766"/>
                <a:gd name="connsiteX8" fmla="*/ 118237 w 259577"/>
                <a:gd name="connsiteY8" fmla="*/ 318540 h 354766"/>
                <a:gd name="connsiteX9" fmla="*/ 29937 w 259577"/>
                <a:gd name="connsiteY9" fmla="*/ 236108 h 354766"/>
                <a:gd name="connsiteX10" fmla="*/ 5625 w 259577"/>
                <a:gd name="connsiteY10" fmla="*/ 235503 h 354766"/>
                <a:gd name="connsiteX11" fmla="*/ 0 w 259577"/>
                <a:gd name="connsiteY11" fmla="*/ 327975 h 354766"/>
                <a:gd name="connsiteX12" fmla="*/ 117028 w 259577"/>
                <a:gd name="connsiteY12" fmla="*/ 354767 h 354766"/>
                <a:gd name="connsiteX13" fmla="*/ 259578 w 259577"/>
                <a:gd name="connsiteY13" fmla="*/ 242458 h 354766"/>
                <a:gd name="connsiteX14" fmla="*/ 73301 w 259577"/>
                <a:gd name="connsiteY14" fmla="*/ 75477 h 35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577" h="354766">
                  <a:moveTo>
                    <a:pt x="73301" y="75477"/>
                  </a:moveTo>
                  <a:cubicBezTo>
                    <a:pt x="73301" y="51165"/>
                    <a:pt x="92050" y="35501"/>
                    <a:pt x="125737" y="35501"/>
                  </a:cubicBezTo>
                  <a:cubicBezTo>
                    <a:pt x="187063" y="35501"/>
                    <a:pt x="200550" y="69248"/>
                    <a:pt x="209319" y="107349"/>
                  </a:cubicBezTo>
                  <a:lnTo>
                    <a:pt x="229943" y="109224"/>
                  </a:lnTo>
                  <a:lnTo>
                    <a:pt x="240526" y="26187"/>
                  </a:lnTo>
                  <a:cubicBezTo>
                    <a:pt x="203755" y="7439"/>
                    <a:pt x="172245" y="0"/>
                    <a:pt x="132027" y="0"/>
                  </a:cubicBezTo>
                  <a:cubicBezTo>
                    <a:pt x="62112" y="0"/>
                    <a:pt x="303" y="41791"/>
                    <a:pt x="303" y="106805"/>
                  </a:cubicBezTo>
                  <a:cubicBezTo>
                    <a:pt x="303" y="223529"/>
                    <a:pt x="176539" y="215424"/>
                    <a:pt x="176539" y="273544"/>
                  </a:cubicBezTo>
                  <a:cubicBezTo>
                    <a:pt x="176539" y="302272"/>
                    <a:pt x="152650" y="318540"/>
                    <a:pt x="118237" y="318540"/>
                  </a:cubicBezTo>
                  <a:cubicBezTo>
                    <a:pt x="69793" y="318540"/>
                    <a:pt x="38042" y="284793"/>
                    <a:pt x="29937" y="236108"/>
                  </a:cubicBezTo>
                  <a:lnTo>
                    <a:pt x="5625" y="235503"/>
                  </a:lnTo>
                  <a:lnTo>
                    <a:pt x="0" y="327975"/>
                  </a:lnTo>
                  <a:cubicBezTo>
                    <a:pt x="37437" y="344788"/>
                    <a:pt x="72999" y="354767"/>
                    <a:pt x="117028" y="354767"/>
                  </a:cubicBezTo>
                  <a:cubicBezTo>
                    <a:pt x="181377" y="354767"/>
                    <a:pt x="259578" y="324286"/>
                    <a:pt x="259578" y="242458"/>
                  </a:cubicBezTo>
                  <a:cubicBezTo>
                    <a:pt x="259578" y="134202"/>
                    <a:pt x="73301" y="142366"/>
                    <a:pt x="73301" y="75477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D775D14-6C6B-4879-AAD7-CA6122AA68EF}"/>
                </a:ext>
              </a:extLst>
            </p:cNvPr>
            <p:cNvSpPr/>
            <p:nvPr/>
          </p:nvSpPr>
          <p:spPr>
            <a:xfrm>
              <a:off x="4235725" y="1413609"/>
              <a:ext cx="100577" cy="100515"/>
            </a:xfrm>
            <a:custGeom>
              <a:avLst/>
              <a:gdLst>
                <a:gd name="connsiteX0" fmla="*/ 50379 w 100577"/>
                <a:gd name="connsiteY0" fmla="*/ 100515 h 100515"/>
                <a:gd name="connsiteX1" fmla="*/ 100577 w 100577"/>
                <a:gd name="connsiteY1" fmla="*/ 50258 h 100515"/>
                <a:gd name="connsiteX2" fmla="*/ 50379 w 100577"/>
                <a:gd name="connsiteY2" fmla="*/ 0 h 100515"/>
                <a:gd name="connsiteX3" fmla="*/ 0 w 100577"/>
                <a:gd name="connsiteY3" fmla="*/ 50258 h 100515"/>
                <a:gd name="connsiteX4" fmla="*/ 50379 w 100577"/>
                <a:gd name="connsiteY4" fmla="*/ 100515 h 1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77" h="100515">
                  <a:moveTo>
                    <a:pt x="50379" y="100515"/>
                  </a:moveTo>
                  <a:cubicBezTo>
                    <a:pt x="78200" y="100515"/>
                    <a:pt x="100577" y="78017"/>
                    <a:pt x="100577" y="50258"/>
                  </a:cubicBezTo>
                  <a:cubicBezTo>
                    <a:pt x="100577" y="22498"/>
                    <a:pt x="78139" y="0"/>
                    <a:pt x="50379" y="0"/>
                  </a:cubicBezTo>
                  <a:cubicBezTo>
                    <a:pt x="22619" y="0"/>
                    <a:pt x="0" y="22498"/>
                    <a:pt x="0" y="50258"/>
                  </a:cubicBezTo>
                  <a:cubicBezTo>
                    <a:pt x="61" y="78017"/>
                    <a:pt x="22619" y="100515"/>
                    <a:pt x="50379" y="100515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6462DC3-7443-474B-A5F5-5F66BE47E7BF}"/>
                </a:ext>
              </a:extLst>
            </p:cNvPr>
            <p:cNvSpPr/>
            <p:nvPr/>
          </p:nvSpPr>
          <p:spPr>
            <a:xfrm>
              <a:off x="4748106" y="1586638"/>
              <a:ext cx="315036" cy="355311"/>
            </a:xfrm>
            <a:custGeom>
              <a:avLst/>
              <a:gdLst>
                <a:gd name="connsiteX0" fmla="*/ 314976 w 315036"/>
                <a:gd name="connsiteY0" fmla="*/ 162990 h 355311"/>
                <a:gd name="connsiteX1" fmla="*/ 174422 w 315036"/>
                <a:gd name="connsiteY1" fmla="*/ 0 h 355311"/>
                <a:gd name="connsiteX2" fmla="*/ 0 w 315036"/>
                <a:gd name="connsiteY2" fmla="*/ 189056 h 355311"/>
                <a:gd name="connsiteX3" fmla="*/ 175087 w 315036"/>
                <a:gd name="connsiteY3" fmla="*/ 355311 h 355311"/>
                <a:gd name="connsiteX4" fmla="*/ 310622 w 315036"/>
                <a:gd name="connsiteY4" fmla="*/ 299127 h 355311"/>
                <a:gd name="connsiteX5" fmla="*/ 301308 w 315036"/>
                <a:gd name="connsiteY5" fmla="*/ 277959 h 355311"/>
                <a:gd name="connsiteX6" fmla="*/ 206295 w 315036"/>
                <a:gd name="connsiteY6" fmla="*/ 290781 h 355311"/>
                <a:gd name="connsiteX7" fmla="*/ 88965 w 315036"/>
                <a:gd name="connsiteY7" fmla="*/ 177988 h 355311"/>
                <a:gd name="connsiteX8" fmla="*/ 315037 w 315036"/>
                <a:gd name="connsiteY8" fmla="*/ 177988 h 355311"/>
                <a:gd name="connsiteX9" fmla="*/ 315037 w 315036"/>
                <a:gd name="connsiteY9" fmla="*/ 162990 h 355311"/>
                <a:gd name="connsiteX10" fmla="*/ 88300 w 315036"/>
                <a:gd name="connsiteY10" fmla="*/ 144181 h 355311"/>
                <a:gd name="connsiteX11" fmla="*/ 160149 w 315036"/>
                <a:gd name="connsiteY11" fmla="*/ 36771 h 355311"/>
                <a:gd name="connsiteX12" fmla="*/ 223834 w 315036"/>
                <a:gd name="connsiteY12" fmla="*/ 144181 h 355311"/>
                <a:gd name="connsiteX13" fmla="*/ 88300 w 315036"/>
                <a:gd name="connsiteY13" fmla="*/ 144181 h 35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36" h="355311">
                  <a:moveTo>
                    <a:pt x="314976" y="162990"/>
                  </a:moveTo>
                  <a:cubicBezTo>
                    <a:pt x="314976" y="74268"/>
                    <a:pt x="272520" y="0"/>
                    <a:pt x="174422" y="0"/>
                  </a:cubicBezTo>
                  <a:cubicBezTo>
                    <a:pt x="70700" y="0"/>
                    <a:pt x="0" y="90355"/>
                    <a:pt x="0" y="189056"/>
                  </a:cubicBezTo>
                  <a:cubicBezTo>
                    <a:pt x="0" y="290599"/>
                    <a:pt x="62052" y="355311"/>
                    <a:pt x="175087" y="355311"/>
                  </a:cubicBezTo>
                  <a:cubicBezTo>
                    <a:pt x="233208" y="355311"/>
                    <a:pt x="283769" y="330999"/>
                    <a:pt x="310622" y="299127"/>
                  </a:cubicBezTo>
                  <a:lnTo>
                    <a:pt x="301308" y="277959"/>
                  </a:lnTo>
                  <a:cubicBezTo>
                    <a:pt x="263811" y="286668"/>
                    <a:pt x="229459" y="290781"/>
                    <a:pt x="206295" y="290781"/>
                  </a:cubicBezTo>
                  <a:cubicBezTo>
                    <a:pt x="140735" y="290781"/>
                    <a:pt x="94589" y="262900"/>
                    <a:pt x="88965" y="177988"/>
                  </a:cubicBezTo>
                  <a:lnTo>
                    <a:pt x="315037" y="177988"/>
                  </a:lnTo>
                  <a:lnTo>
                    <a:pt x="315037" y="162990"/>
                  </a:lnTo>
                  <a:close/>
                  <a:moveTo>
                    <a:pt x="88300" y="144181"/>
                  </a:moveTo>
                  <a:cubicBezTo>
                    <a:pt x="90175" y="70518"/>
                    <a:pt x="120172" y="36771"/>
                    <a:pt x="160149" y="36771"/>
                  </a:cubicBezTo>
                  <a:cubicBezTo>
                    <a:pt x="206295" y="36771"/>
                    <a:pt x="223834" y="81102"/>
                    <a:pt x="223834" y="144181"/>
                  </a:cubicBezTo>
                  <a:lnTo>
                    <a:pt x="88300" y="144181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77E9C25D-647F-4955-8251-DE2187798099}"/>
                </a:ext>
              </a:extLst>
            </p:cNvPr>
            <p:cNvSpPr/>
            <p:nvPr/>
          </p:nvSpPr>
          <p:spPr>
            <a:xfrm>
              <a:off x="4187341" y="1588513"/>
              <a:ext cx="200549" cy="347811"/>
            </a:xfrm>
            <a:custGeom>
              <a:avLst/>
              <a:gdLst>
                <a:gd name="connsiteX0" fmla="*/ 143699 w 200549"/>
                <a:gd name="connsiteY0" fmla="*/ 292232 h 347811"/>
                <a:gd name="connsiteX1" fmla="*/ 142429 w 200549"/>
                <a:gd name="connsiteY1" fmla="*/ 177323 h 347811"/>
                <a:gd name="connsiteX2" fmla="*/ 142429 w 200549"/>
                <a:gd name="connsiteY2" fmla="*/ 27457 h 347811"/>
                <a:gd name="connsiteX3" fmla="*/ 113096 w 200549"/>
                <a:gd name="connsiteY3" fmla="*/ 0 h 347811"/>
                <a:gd name="connsiteX4" fmla="*/ 0 w 200549"/>
                <a:gd name="connsiteY4" fmla="*/ 13729 h 347811"/>
                <a:gd name="connsiteX5" fmla="*/ 0 w 200549"/>
                <a:gd name="connsiteY5" fmla="*/ 42456 h 347811"/>
                <a:gd name="connsiteX6" fmla="*/ 57455 w 200549"/>
                <a:gd name="connsiteY6" fmla="*/ 42456 h 347811"/>
                <a:gd name="connsiteX7" fmla="*/ 57455 w 200549"/>
                <a:gd name="connsiteY7" fmla="*/ 177323 h 347811"/>
                <a:gd name="connsiteX8" fmla="*/ 55641 w 200549"/>
                <a:gd name="connsiteY8" fmla="*/ 287878 h 347811"/>
                <a:gd name="connsiteX9" fmla="*/ 38767 w 200549"/>
                <a:gd name="connsiteY9" fmla="*/ 316000 h 347811"/>
                <a:gd name="connsiteX10" fmla="*/ 665 w 200549"/>
                <a:gd name="connsiteY10" fmla="*/ 327854 h 347811"/>
                <a:gd name="connsiteX11" fmla="*/ 3145 w 200549"/>
                <a:gd name="connsiteY11" fmla="*/ 347812 h 347811"/>
                <a:gd name="connsiteX12" fmla="*/ 196800 w 200549"/>
                <a:gd name="connsiteY12" fmla="*/ 347812 h 347811"/>
                <a:gd name="connsiteX13" fmla="*/ 200550 w 200549"/>
                <a:gd name="connsiteY13" fmla="*/ 325919 h 347811"/>
                <a:gd name="connsiteX14" fmla="*/ 154283 w 200549"/>
                <a:gd name="connsiteY14" fmla="*/ 314730 h 347811"/>
                <a:gd name="connsiteX15" fmla="*/ 143699 w 200549"/>
                <a:gd name="connsiteY15" fmla="*/ 292232 h 34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549" h="347811">
                  <a:moveTo>
                    <a:pt x="143699" y="292232"/>
                  </a:moveTo>
                  <a:lnTo>
                    <a:pt x="142429" y="177323"/>
                  </a:lnTo>
                  <a:lnTo>
                    <a:pt x="142429" y="27457"/>
                  </a:lnTo>
                  <a:cubicBezTo>
                    <a:pt x="142429" y="5564"/>
                    <a:pt x="132450" y="0"/>
                    <a:pt x="113096" y="0"/>
                  </a:cubicBezTo>
                  <a:cubicBezTo>
                    <a:pt x="83099" y="0"/>
                    <a:pt x="33748" y="6229"/>
                    <a:pt x="0" y="13729"/>
                  </a:cubicBezTo>
                  <a:lnTo>
                    <a:pt x="0" y="42456"/>
                  </a:lnTo>
                  <a:lnTo>
                    <a:pt x="57455" y="42456"/>
                  </a:lnTo>
                  <a:lnTo>
                    <a:pt x="57455" y="177323"/>
                  </a:lnTo>
                  <a:lnTo>
                    <a:pt x="55641" y="287878"/>
                  </a:lnTo>
                  <a:cubicBezTo>
                    <a:pt x="55641" y="301667"/>
                    <a:pt x="50017" y="312251"/>
                    <a:pt x="38767" y="316000"/>
                  </a:cubicBezTo>
                  <a:lnTo>
                    <a:pt x="665" y="327854"/>
                  </a:lnTo>
                  <a:cubicBezTo>
                    <a:pt x="665" y="335958"/>
                    <a:pt x="1935" y="339708"/>
                    <a:pt x="3145" y="347812"/>
                  </a:cubicBezTo>
                  <a:lnTo>
                    <a:pt x="196800" y="347812"/>
                  </a:lnTo>
                  <a:cubicBezTo>
                    <a:pt x="199945" y="339708"/>
                    <a:pt x="200550" y="332208"/>
                    <a:pt x="200550" y="325919"/>
                  </a:cubicBezTo>
                  <a:lnTo>
                    <a:pt x="154283" y="314730"/>
                  </a:lnTo>
                  <a:cubicBezTo>
                    <a:pt x="147509" y="312855"/>
                    <a:pt x="143699" y="308501"/>
                    <a:pt x="143699" y="292232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04C54A74-0184-4F84-95A2-B2A617429325}"/>
                </a:ext>
              </a:extLst>
            </p:cNvPr>
            <p:cNvSpPr/>
            <p:nvPr/>
          </p:nvSpPr>
          <p:spPr>
            <a:xfrm>
              <a:off x="3810132" y="1587848"/>
              <a:ext cx="338502" cy="354041"/>
            </a:xfrm>
            <a:custGeom>
              <a:avLst/>
              <a:gdLst>
                <a:gd name="connsiteX0" fmla="*/ 171157 w 338502"/>
                <a:gd name="connsiteY0" fmla="*/ 0 h 354041"/>
                <a:gd name="connsiteX1" fmla="*/ 0 w 338502"/>
                <a:gd name="connsiteY1" fmla="*/ 183613 h 354041"/>
                <a:gd name="connsiteX2" fmla="*/ 165532 w 338502"/>
                <a:gd name="connsiteY2" fmla="*/ 354041 h 354041"/>
                <a:gd name="connsiteX3" fmla="*/ 338503 w 338502"/>
                <a:gd name="connsiteY3" fmla="*/ 171094 h 354041"/>
                <a:gd name="connsiteX4" fmla="*/ 171157 w 338502"/>
                <a:gd name="connsiteY4" fmla="*/ 0 h 354041"/>
                <a:gd name="connsiteX5" fmla="*/ 175511 w 338502"/>
                <a:gd name="connsiteY5" fmla="*/ 314186 h 354041"/>
                <a:gd name="connsiteX6" fmla="*/ 90659 w 338502"/>
                <a:gd name="connsiteY6" fmla="*/ 171759 h 354041"/>
                <a:gd name="connsiteX7" fmla="*/ 166197 w 338502"/>
                <a:gd name="connsiteY7" fmla="*/ 38706 h 354041"/>
                <a:gd name="connsiteX8" fmla="*/ 246816 w 338502"/>
                <a:gd name="connsiteY8" fmla="*/ 183613 h 354041"/>
                <a:gd name="connsiteX9" fmla="*/ 175511 w 338502"/>
                <a:gd name="connsiteY9" fmla="*/ 314186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502" h="354041">
                  <a:moveTo>
                    <a:pt x="171157" y="0"/>
                  </a:moveTo>
                  <a:cubicBezTo>
                    <a:pt x="75599" y="0"/>
                    <a:pt x="0" y="92411"/>
                    <a:pt x="0" y="183613"/>
                  </a:cubicBezTo>
                  <a:cubicBezTo>
                    <a:pt x="0" y="302272"/>
                    <a:pt x="62475" y="354041"/>
                    <a:pt x="165532" y="354041"/>
                  </a:cubicBezTo>
                  <a:cubicBezTo>
                    <a:pt x="264234" y="354041"/>
                    <a:pt x="338503" y="261630"/>
                    <a:pt x="338503" y="171094"/>
                  </a:cubicBezTo>
                  <a:cubicBezTo>
                    <a:pt x="338563" y="54370"/>
                    <a:pt x="282318" y="0"/>
                    <a:pt x="171157" y="0"/>
                  </a:cubicBezTo>
                  <a:close/>
                  <a:moveTo>
                    <a:pt x="175511" y="314186"/>
                  </a:moveTo>
                  <a:cubicBezTo>
                    <a:pt x="108077" y="314186"/>
                    <a:pt x="90659" y="245482"/>
                    <a:pt x="90659" y="171759"/>
                  </a:cubicBezTo>
                  <a:cubicBezTo>
                    <a:pt x="90659" y="104325"/>
                    <a:pt x="107472" y="38706"/>
                    <a:pt x="166197" y="38706"/>
                  </a:cubicBezTo>
                  <a:cubicBezTo>
                    <a:pt x="232543" y="38706"/>
                    <a:pt x="246816" y="104930"/>
                    <a:pt x="246816" y="183613"/>
                  </a:cubicBezTo>
                  <a:cubicBezTo>
                    <a:pt x="246695" y="248567"/>
                    <a:pt x="235507" y="314186"/>
                    <a:pt x="175511" y="314186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FCE82134-0A32-4CBB-98CD-E93731C76CA5}"/>
                </a:ext>
              </a:extLst>
            </p:cNvPr>
            <p:cNvSpPr/>
            <p:nvPr/>
          </p:nvSpPr>
          <p:spPr>
            <a:xfrm>
              <a:off x="3416956" y="1396736"/>
              <a:ext cx="373520" cy="545213"/>
            </a:xfrm>
            <a:custGeom>
              <a:avLst/>
              <a:gdLst>
                <a:gd name="connsiteX0" fmla="*/ 317395 w 373520"/>
                <a:gd name="connsiteY0" fmla="*/ 493384 h 545213"/>
                <a:gd name="connsiteX1" fmla="*/ 314855 w 373520"/>
                <a:gd name="connsiteY1" fmla="*/ 365351 h 545213"/>
                <a:gd name="connsiteX2" fmla="*/ 314855 w 373520"/>
                <a:gd name="connsiteY2" fmla="*/ 31207 h 545213"/>
                <a:gd name="connsiteX3" fmla="*/ 282378 w 373520"/>
                <a:gd name="connsiteY3" fmla="*/ 0 h 545213"/>
                <a:gd name="connsiteX4" fmla="*/ 172426 w 373520"/>
                <a:gd name="connsiteY4" fmla="*/ 13184 h 545213"/>
                <a:gd name="connsiteX5" fmla="*/ 172426 w 373520"/>
                <a:gd name="connsiteY5" fmla="*/ 42516 h 545213"/>
                <a:gd name="connsiteX6" fmla="*/ 229882 w 373520"/>
                <a:gd name="connsiteY6" fmla="*/ 42516 h 545213"/>
                <a:gd name="connsiteX7" fmla="*/ 229882 w 373520"/>
                <a:gd name="connsiteY7" fmla="*/ 199216 h 545213"/>
                <a:gd name="connsiteX8" fmla="*/ 176176 w 373520"/>
                <a:gd name="connsiteY8" fmla="*/ 194862 h 545213"/>
                <a:gd name="connsiteX9" fmla="*/ 0 w 373520"/>
                <a:gd name="connsiteY9" fmla="*/ 382224 h 545213"/>
                <a:gd name="connsiteX10" fmla="*/ 134929 w 373520"/>
                <a:gd name="connsiteY10" fmla="*/ 545214 h 545213"/>
                <a:gd name="connsiteX11" fmla="*/ 229217 w 373520"/>
                <a:gd name="connsiteY11" fmla="*/ 497133 h 545213"/>
                <a:gd name="connsiteX12" fmla="*/ 269133 w 373520"/>
                <a:gd name="connsiteY12" fmla="*/ 545214 h 545213"/>
                <a:gd name="connsiteX13" fmla="*/ 373520 w 373520"/>
                <a:gd name="connsiteY13" fmla="*/ 514672 h 545213"/>
                <a:gd name="connsiteX14" fmla="*/ 369166 w 373520"/>
                <a:gd name="connsiteY14" fmla="*/ 493384 h 545213"/>
                <a:gd name="connsiteX15" fmla="*/ 317395 w 373520"/>
                <a:gd name="connsiteY15" fmla="*/ 493384 h 545213"/>
                <a:gd name="connsiteX16" fmla="*/ 229942 w 373520"/>
                <a:gd name="connsiteY16" fmla="*/ 364746 h 545213"/>
                <a:gd name="connsiteX17" fmla="*/ 228068 w 373520"/>
                <a:gd name="connsiteY17" fmla="*/ 470281 h 545213"/>
                <a:gd name="connsiteX18" fmla="*/ 170552 w 373520"/>
                <a:gd name="connsiteY18" fmla="*/ 483344 h 545213"/>
                <a:gd name="connsiteX19" fmla="*/ 90054 w 373520"/>
                <a:gd name="connsiteY19" fmla="*/ 369100 h 545213"/>
                <a:gd name="connsiteX20" fmla="*/ 178112 w 373520"/>
                <a:gd name="connsiteY20" fmla="*/ 232903 h 545213"/>
                <a:gd name="connsiteX21" fmla="*/ 229942 w 373520"/>
                <a:gd name="connsiteY21" fmla="*/ 242882 h 545213"/>
                <a:gd name="connsiteX22" fmla="*/ 229942 w 373520"/>
                <a:gd name="connsiteY22" fmla="*/ 364746 h 54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3520" h="545213">
                  <a:moveTo>
                    <a:pt x="317395" y="493384"/>
                  </a:moveTo>
                  <a:lnTo>
                    <a:pt x="314855" y="365351"/>
                  </a:lnTo>
                  <a:lnTo>
                    <a:pt x="314855" y="31207"/>
                  </a:lnTo>
                  <a:cubicBezTo>
                    <a:pt x="314855" y="6229"/>
                    <a:pt x="306086" y="0"/>
                    <a:pt x="282378" y="0"/>
                  </a:cubicBezTo>
                  <a:cubicBezTo>
                    <a:pt x="252985" y="0"/>
                    <a:pt x="206174" y="6229"/>
                    <a:pt x="172426" y="13184"/>
                  </a:cubicBezTo>
                  <a:lnTo>
                    <a:pt x="172426" y="42516"/>
                  </a:lnTo>
                  <a:lnTo>
                    <a:pt x="229882" y="42516"/>
                  </a:lnTo>
                  <a:lnTo>
                    <a:pt x="229882" y="199216"/>
                  </a:lnTo>
                  <a:cubicBezTo>
                    <a:pt x="214883" y="196676"/>
                    <a:pt x="199884" y="194862"/>
                    <a:pt x="176176" y="194862"/>
                  </a:cubicBezTo>
                  <a:cubicBezTo>
                    <a:pt x="78139" y="194862"/>
                    <a:pt x="0" y="267255"/>
                    <a:pt x="0" y="382224"/>
                  </a:cubicBezTo>
                  <a:cubicBezTo>
                    <a:pt x="0" y="513402"/>
                    <a:pt x="67495" y="545214"/>
                    <a:pt x="134929" y="545214"/>
                  </a:cubicBezTo>
                  <a:cubicBezTo>
                    <a:pt x="177386" y="545214"/>
                    <a:pt x="207988" y="520901"/>
                    <a:pt x="229217" y="497133"/>
                  </a:cubicBezTo>
                  <a:cubicBezTo>
                    <a:pt x="229217" y="520236"/>
                    <a:pt x="237381" y="545214"/>
                    <a:pt x="269133" y="545214"/>
                  </a:cubicBezTo>
                  <a:cubicBezTo>
                    <a:pt x="315400" y="545214"/>
                    <a:pt x="346667" y="529610"/>
                    <a:pt x="373520" y="514672"/>
                  </a:cubicBezTo>
                  <a:lnTo>
                    <a:pt x="369166" y="493384"/>
                  </a:lnTo>
                  <a:lnTo>
                    <a:pt x="317395" y="493384"/>
                  </a:lnTo>
                  <a:close/>
                  <a:moveTo>
                    <a:pt x="229942" y="364746"/>
                  </a:moveTo>
                  <a:lnTo>
                    <a:pt x="228068" y="470281"/>
                  </a:lnTo>
                  <a:cubicBezTo>
                    <a:pt x="212524" y="475301"/>
                    <a:pt x="193111" y="483344"/>
                    <a:pt x="170552" y="483344"/>
                  </a:cubicBezTo>
                  <a:cubicBezTo>
                    <a:pt x="123136" y="483344"/>
                    <a:pt x="90054" y="447783"/>
                    <a:pt x="90054" y="369100"/>
                  </a:cubicBezTo>
                  <a:cubicBezTo>
                    <a:pt x="90054" y="277234"/>
                    <a:pt x="113822" y="232903"/>
                    <a:pt x="178112" y="232903"/>
                  </a:cubicBezTo>
                  <a:cubicBezTo>
                    <a:pt x="202545" y="232903"/>
                    <a:pt x="216879" y="238588"/>
                    <a:pt x="229942" y="242882"/>
                  </a:cubicBezTo>
                  <a:lnTo>
                    <a:pt x="229942" y="36474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CB00B367-44E7-4283-B89B-9451314AB0EB}"/>
                </a:ext>
              </a:extLst>
            </p:cNvPr>
            <p:cNvSpPr/>
            <p:nvPr/>
          </p:nvSpPr>
          <p:spPr>
            <a:xfrm>
              <a:off x="2974610" y="1588453"/>
              <a:ext cx="413436" cy="353436"/>
            </a:xfrm>
            <a:custGeom>
              <a:avLst/>
              <a:gdLst>
                <a:gd name="connsiteX0" fmla="*/ 357856 w 413436"/>
                <a:gd name="connsiteY0" fmla="*/ 301667 h 353436"/>
                <a:gd name="connsiteX1" fmla="*/ 354711 w 413436"/>
                <a:gd name="connsiteY1" fmla="*/ 178049 h 353436"/>
                <a:gd name="connsiteX2" fmla="*/ 354711 w 413436"/>
                <a:gd name="connsiteY2" fmla="*/ 35017 h 353436"/>
                <a:gd name="connsiteX3" fmla="*/ 314795 w 413436"/>
                <a:gd name="connsiteY3" fmla="*/ 60 h 353436"/>
                <a:gd name="connsiteX4" fmla="*/ 217968 w 413436"/>
                <a:gd name="connsiteY4" fmla="*/ 16874 h 353436"/>
                <a:gd name="connsiteX5" fmla="*/ 217968 w 413436"/>
                <a:gd name="connsiteY5" fmla="*/ 41851 h 353436"/>
                <a:gd name="connsiteX6" fmla="*/ 269798 w 413436"/>
                <a:gd name="connsiteY6" fmla="*/ 41851 h 353436"/>
                <a:gd name="connsiteX7" fmla="*/ 269798 w 413436"/>
                <a:gd name="connsiteY7" fmla="*/ 177383 h 353436"/>
                <a:gd name="connsiteX8" fmla="*/ 267923 w 413436"/>
                <a:gd name="connsiteY8" fmla="*/ 271125 h 353436"/>
                <a:gd name="connsiteX9" fmla="*/ 186700 w 413436"/>
                <a:gd name="connsiteY9" fmla="*/ 291688 h 353436"/>
                <a:gd name="connsiteX10" fmla="*/ 138679 w 413436"/>
                <a:gd name="connsiteY10" fmla="*/ 225162 h 353436"/>
                <a:gd name="connsiteX11" fmla="*/ 138679 w 413436"/>
                <a:gd name="connsiteY11" fmla="*/ 34352 h 353436"/>
                <a:gd name="connsiteX12" fmla="*/ 99307 w 413436"/>
                <a:gd name="connsiteY12" fmla="*/ 0 h 353436"/>
                <a:gd name="connsiteX13" fmla="*/ 0 w 413436"/>
                <a:gd name="connsiteY13" fmla="*/ 16813 h 353436"/>
                <a:gd name="connsiteX14" fmla="*/ 0 w 413436"/>
                <a:gd name="connsiteY14" fmla="*/ 41791 h 353436"/>
                <a:gd name="connsiteX15" fmla="*/ 53101 w 413436"/>
                <a:gd name="connsiteY15" fmla="*/ 41791 h 353436"/>
                <a:gd name="connsiteX16" fmla="*/ 53101 w 413436"/>
                <a:gd name="connsiteY16" fmla="*/ 237862 h 353436"/>
                <a:gd name="connsiteX17" fmla="*/ 152408 w 413436"/>
                <a:gd name="connsiteY17" fmla="*/ 353436 h 353436"/>
                <a:gd name="connsiteX18" fmla="*/ 268528 w 413436"/>
                <a:gd name="connsiteY18" fmla="*/ 294772 h 353436"/>
                <a:gd name="connsiteX19" fmla="*/ 319754 w 413436"/>
                <a:gd name="connsiteY19" fmla="*/ 352166 h 353436"/>
                <a:gd name="connsiteX20" fmla="*/ 413437 w 413436"/>
                <a:gd name="connsiteY20" fmla="*/ 319085 h 353436"/>
                <a:gd name="connsiteX21" fmla="*/ 411562 w 413436"/>
                <a:gd name="connsiteY21" fmla="*/ 301606 h 353436"/>
                <a:gd name="connsiteX22" fmla="*/ 357856 w 413436"/>
                <a:gd name="connsiteY22" fmla="*/ 301606 h 35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3436" h="353436">
                  <a:moveTo>
                    <a:pt x="357856" y="301667"/>
                  </a:moveTo>
                  <a:lnTo>
                    <a:pt x="354711" y="178049"/>
                  </a:lnTo>
                  <a:lnTo>
                    <a:pt x="354711" y="35017"/>
                  </a:lnTo>
                  <a:cubicBezTo>
                    <a:pt x="354711" y="10644"/>
                    <a:pt x="339108" y="60"/>
                    <a:pt x="314795" y="60"/>
                  </a:cubicBezTo>
                  <a:cubicBezTo>
                    <a:pt x="284797" y="60"/>
                    <a:pt x="248510" y="8165"/>
                    <a:pt x="217968" y="16874"/>
                  </a:cubicBezTo>
                  <a:lnTo>
                    <a:pt x="217968" y="41851"/>
                  </a:lnTo>
                  <a:lnTo>
                    <a:pt x="269798" y="41851"/>
                  </a:lnTo>
                  <a:lnTo>
                    <a:pt x="269798" y="177383"/>
                  </a:lnTo>
                  <a:lnTo>
                    <a:pt x="267923" y="271125"/>
                  </a:lnTo>
                  <a:cubicBezTo>
                    <a:pt x="248510" y="279834"/>
                    <a:pt x="223048" y="291688"/>
                    <a:pt x="186700" y="291688"/>
                  </a:cubicBezTo>
                  <a:cubicBezTo>
                    <a:pt x="145090" y="291688"/>
                    <a:pt x="139344" y="261388"/>
                    <a:pt x="138679" y="225162"/>
                  </a:cubicBezTo>
                  <a:lnTo>
                    <a:pt x="138679" y="34352"/>
                  </a:lnTo>
                  <a:cubicBezTo>
                    <a:pt x="138679" y="10584"/>
                    <a:pt x="124950" y="0"/>
                    <a:pt x="99307" y="0"/>
                  </a:cubicBezTo>
                  <a:cubicBezTo>
                    <a:pt x="69975" y="0"/>
                    <a:pt x="34352" y="7499"/>
                    <a:pt x="0" y="16813"/>
                  </a:cubicBezTo>
                  <a:lnTo>
                    <a:pt x="0" y="41791"/>
                  </a:lnTo>
                  <a:lnTo>
                    <a:pt x="53101" y="41791"/>
                  </a:lnTo>
                  <a:lnTo>
                    <a:pt x="53101" y="237862"/>
                  </a:lnTo>
                  <a:cubicBezTo>
                    <a:pt x="53101" y="296587"/>
                    <a:pt x="59935" y="353436"/>
                    <a:pt x="152408" y="353436"/>
                  </a:cubicBezTo>
                  <a:cubicBezTo>
                    <a:pt x="201094" y="353436"/>
                    <a:pt x="236716" y="326040"/>
                    <a:pt x="268528" y="294772"/>
                  </a:cubicBezTo>
                  <a:cubicBezTo>
                    <a:pt x="269194" y="330999"/>
                    <a:pt x="286612" y="352166"/>
                    <a:pt x="319754" y="352166"/>
                  </a:cubicBezTo>
                  <a:cubicBezTo>
                    <a:pt x="360941" y="352166"/>
                    <a:pt x="390939" y="332874"/>
                    <a:pt x="413437" y="319085"/>
                  </a:cubicBezTo>
                  <a:lnTo>
                    <a:pt x="411562" y="301606"/>
                  </a:lnTo>
                  <a:lnTo>
                    <a:pt x="357856" y="30160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E9572656-402E-46BF-8230-C5E5EAB338FB}"/>
                </a:ext>
              </a:extLst>
            </p:cNvPr>
            <p:cNvSpPr/>
            <p:nvPr/>
          </p:nvSpPr>
          <p:spPr>
            <a:xfrm>
              <a:off x="2256004" y="1595287"/>
              <a:ext cx="362442" cy="357851"/>
            </a:xfrm>
            <a:custGeom>
              <a:avLst/>
              <a:gdLst>
                <a:gd name="connsiteX0" fmla="*/ 254608 w 362442"/>
                <a:gd name="connsiteY0" fmla="*/ 21288 h 357851"/>
                <a:gd name="connsiteX1" fmla="*/ 283094 w 362442"/>
                <a:gd name="connsiteY1" fmla="*/ 30663 h 357851"/>
                <a:gd name="connsiteX2" fmla="*/ 296157 w 362442"/>
                <a:gd name="connsiteY2" fmla="*/ 50620 h 357851"/>
                <a:gd name="connsiteX3" fmla="*/ 292468 w 362442"/>
                <a:gd name="connsiteY3" fmla="*/ 69974 h 357851"/>
                <a:gd name="connsiteX4" fmla="*/ 211849 w 362442"/>
                <a:gd name="connsiteY4" fmla="*/ 274814 h 357851"/>
                <a:gd name="connsiteX5" fmla="*/ 124396 w 362442"/>
                <a:gd name="connsiteY5" fmla="*/ 0 h 357851"/>
                <a:gd name="connsiteX6" fmla="*/ 1320 w 362442"/>
                <a:gd name="connsiteY6" fmla="*/ 0 h 357851"/>
                <a:gd name="connsiteX7" fmla="*/ 1804 w 362442"/>
                <a:gd name="connsiteY7" fmla="*/ 24373 h 357851"/>
                <a:gd name="connsiteX8" fmla="*/ 51095 w 362442"/>
                <a:gd name="connsiteY8" fmla="*/ 59269 h 357851"/>
                <a:gd name="connsiteX9" fmla="*/ 156873 w 362442"/>
                <a:gd name="connsiteY9" fmla="*/ 357851 h 357851"/>
                <a:gd name="connsiteX10" fmla="*/ 219288 w 362442"/>
                <a:gd name="connsiteY10" fmla="*/ 339768 h 357851"/>
                <a:gd name="connsiteX11" fmla="*/ 328030 w 362442"/>
                <a:gd name="connsiteY11" fmla="*/ 79953 h 357851"/>
                <a:gd name="connsiteX12" fmla="*/ 361717 w 362442"/>
                <a:gd name="connsiteY12" fmla="*/ 15603 h 357851"/>
                <a:gd name="connsiteX13" fmla="*/ 362442 w 362442"/>
                <a:gd name="connsiteY13" fmla="*/ 0 h 357851"/>
                <a:gd name="connsiteX14" fmla="*/ 255273 w 362442"/>
                <a:gd name="connsiteY14" fmla="*/ 0 h 357851"/>
                <a:gd name="connsiteX15" fmla="*/ 254608 w 362442"/>
                <a:gd name="connsiteY15" fmla="*/ 21288 h 3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442" h="357851">
                  <a:moveTo>
                    <a:pt x="254608" y="21288"/>
                  </a:moveTo>
                  <a:lnTo>
                    <a:pt x="283094" y="30663"/>
                  </a:lnTo>
                  <a:cubicBezTo>
                    <a:pt x="291198" y="33807"/>
                    <a:pt x="296157" y="40037"/>
                    <a:pt x="296157" y="50620"/>
                  </a:cubicBezTo>
                  <a:cubicBezTo>
                    <a:pt x="296157" y="56245"/>
                    <a:pt x="294947" y="62474"/>
                    <a:pt x="292468" y="69974"/>
                  </a:cubicBezTo>
                  <a:lnTo>
                    <a:pt x="211849" y="274814"/>
                  </a:lnTo>
                  <a:lnTo>
                    <a:pt x="124396" y="0"/>
                  </a:lnTo>
                  <a:lnTo>
                    <a:pt x="1320" y="0"/>
                  </a:lnTo>
                  <a:cubicBezTo>
                    <a:pt x="-1159" y="7499"/>
                    <a:pt x="353" y="18506"/>
                    <a:pt x="1804" y="24373"/>
                  </a:cubicBezTo>
                  <a:cubicBezTo>
                    <a:pt x="31076" y="34473"/>
                    <a:pt x="40692" y="32054"/>
                    <a:pt x="51095" y="59269"/>
                  </a:cubicBezTo>
                  <a:lnTo>
                    <a:pt x="156873" y="357851"/>
                  </a:lnTo>
                  <a:lnTo>
                    <a:pt x="219288" y="339768"/>
                  </a:lnTo>
                  <a:lnTo>
                    <a:pt x="328030" y="79953"/>
                  </a:lnTo>
                  <a:cubicBezTo>
                    <a:pt x="339279" y="51286"/>
                    <a:pt x="351133" y="27518"/>
                    <a:pt x="361717" y="15603"/>
                  </a:cubicBezTo>
                  <a:cubicBezTo>
                    <a:pt x="362442" y="13124"/>
                    <a:pt x="362442" y="2480"/>
                    <a:pt x="362442" y="0"/>
                  </a:cubicBezTo>
                  <a:lnTo>
                    <a:pt x="255273" y="0"/>
                  </a:lnTo>
                  <a:cubicBezTo>
                    <a:pt x="253398" y="7560"/>
                    <a:pt x="253398" y="13184"/>
                    <a:pt x="254608" y="2128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" name="Espace réservé de la date 1">
            <a:extLst>
              <a:ext uri="{FF2B5EF4-FFF2-40B4-BE49-F238E27FC236}">
                <a16:creationId xmlns:a16="http://schemas.microsoft.com/office/drawing/2014/main" id="{28387CA4-B63C-462E-909C-90DCD9EA6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646" y="3125028"/>
            <a:ext cx="1561944" cy="230832"/>
          </a:xfrm>
          <a:prstGeom prst="rect">
            <a:avLst/>
          </a:prstGeom>
          <a:solidFill>
            <a:srgbClr val="889239"/>
          </a:solidFill>
          <a:ln w="19050" cap="sq">
            <a:noFill/>
            <a:miter lim="800000"/>
          </a:ln>
        </p:spPr>
        <p:txBody>
          <a:bodyPr vert="horz" wrap="none" lIns="108000" tIns="45720" rIns="72000" bIns="45720" rtlCol="0" anchor="ctr">
            <a:spAutoFit/>
          </a:bodyPr>
          <a:lstStyle>
            <a:lvl1pPr algn="l">
              <a:defRPr sz="900" cap="all" spc="6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A5A938C-2DF6-40FE-A152-96664CE06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320" y="3731413"/>
            <a:ext cx="10515600" cy="1421928"/>
          </a:xfrm>
        </p:spPr>
        <p:txBody>
          <a:bodyPr anchor="b">
            <a:spAutoFit/>
          </a:bodyPr>
          <a:lstStyle>
            <a:lvl1pPr>
              <a:lnSpc>
                <a:spcPct val="80000"/>
              </a:lnSpc>
              <a:defRPr sz="5400" cap="none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</a:t>
            </a:r>
            <a:br>
              <a:rPr lang="fr-FR"/>
            </a:br>
            <a:r>
              <a:rPr lang="fr-FR"/>
              <a:t>présentation</a:t>
            </a:r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76166621-145F-4BD6-9E58-679F247784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7358" y="5444562"/>
            <a:ext cx="10515599" cy="341632"/>
          </a:xfrm>
        </p:spPr>
        <p:txBody>
          <a:bodyPr wrap="square">
            <a:spAutoFit/>
          </a:bodyPr>
          <a:lstStyle>
            <a:lvl1pPr marL="0" indent="0">
              <a:buNone/>
              <a:defRPr sz="1800" b="0" cap="all" spc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E71C7105-9187-49C8-BEE9-2283F4CB093B}"/>
              </a:ext>
            </a:extLst>
          </p:cNvPr>
          <p:cNvGrpSpPr/>
          <p:nvPr userDrawn="1"/>
        </p:nvGrpSpPr>
        <p:grpSpPr>
          <a:xfrm>
            <a:off x="12312774" y="0"/>
            <a:ext cx="1885826" cy="1528108"/>
            <a:chOff x="4867566" y="1651754"/>
            <a:chExt cx="1885826" cy="1528108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C2D3DC88-C86A-4F17-B2F1-5F5B3606EE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EA1CD3F-2DDC-4AA5-B278-383A01F112EB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d’image 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aire un clic droit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ur la diapositive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Mise en forme de l’arrière plan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hoisir l’image souhaitée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2308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_titre + Libre - Fond ver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6">
            <a:extLst>
              <a:ext uri="{FF2B5EF4-FFF2-40B4-BE49-F238E27FC236}">
                <a16:creationId xmlns:a16="http://schemas.microsoft.com/office/drawing/2014/main" id="{FF3339DA-7E92-4688-B24E-1B92A29F2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419253"/>
            <a:ext cx="11413603" cy="4385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e la date 8">
            <a:extLst>
              <a:ext uri="{FF2B5EF4-FFF2-40B4-BE49-F238E27FC236}">
                <a16:creationId xmlns:a16="http://schemas.microsoft.com/office/drawing/2014/main" id="{FE80A60B-5051-4F6A-8E02-540A237E306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331962" y="6245995"/>
            <a:ext cx="1088760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7" name="Espace réservé du numéro de diapositive 12">
            <a:extLst>
              <a:ext uri="{FF2B5EF4-FFF2-40B4-BE49-F238E27FC236}">
                <a16:creationId xmlns:a16="http://schemas.microsoft.com/office/drawing/2014/main" id="{CAE37A05-2DE8-4C0A-AC7F-9981A0D6C5D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38447" y="6228668"/>
            <a:ext cx="520337" cy="2500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B90B7E0-B191-4413-9571-6AF2C8B9D19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" name="Espace réservé du texte 58">
            <a:extLst>
              <a:ext uri="{FF2B5EF4-FFF2-40B4-BE49-F238E27FC236}">
                <a16:creationId xmlns:a16="http://schemas.microsoft.com/office/drawing/2014/main" id="{76368801-6D4B-4F15-8D2B-E4020DC353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62550"/>
            <a:ext cx="11413601" cy="286232"/>
          </a:xfrm>
        </p:spPr>
        <p:txBody>
          <a:bodyPr wrap="square" lIns="90000">
            <a:spAutoFit/>
          </a:bodyPr>
          <a:lstStyle>
            <a:lvl1pPr marL="0" indent="0">
              <a:buNone/>
              <a:defRPr sz="1400" b="0" cap="all" spc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1" name="Espace réservé du pied de page 11">
            <a:extLst>
              <a:ext uri="{FF2B5EF4-FFF2-40B4-BE49-F238E27FC236}">
                <a16:creationId xmlns:a16="http://schemas.microsoft.com/office/drawing/2014/main" id="{B6BCD3CC-B2D4-4C5D-91B7-6B845299CE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SCA Transversal 7</a:t>
            </a:r>
          </a:p>
        </p:txBody>
      </p:sp>
      <p:sp>
        <p:nvSpPr>
          <p:cNvPr id="15" name="Forme libre : forme 14">
            <a:extLst>
              <a:ext uri="{FF2B5EF4-FFF2-40B4-BE49-F238E27FC236}">
                <a16:creationId xmlns:a16="http://schemas.microsoft.com/office/drawing/2014/main" id="{8BFE3A24-D303-4FB1-B41C-1D50725891B9}"/>
              </a:ext>
            </a:extLst>
          </p:cNvPr>
          <p:cNvSpPr/>
          <p:nvPr userDrawn="1"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bg1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238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9D52A0-B0FD-43D3-8BE9-6B855DF38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B07F220-FB2F-4577-B08D-9A4DCEF73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9B34A-9DCC-4945-A55A-8BEDE7C91CC6}" type="datetime1">
              <a:rPr lang="en-US" smtClean="0"/>
              <a:t>4/3/2023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6F8C43D-6D67-425D-AC5C-604350795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351C6ED9-2925-41E1-BBAB-DC92C6114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40BCE-C768-41AC-9D37-7DB9A931AA9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897C300-8CD9-41C9-9304-C99C25A118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9683" y="1054100"/>
            <a:ext cx="11452634" cy="422275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tx2">
                    <a:lumMod val="50000"/>
                  </a:schemeClr>
                </a:solidFill>
              </a:defRPr>
            </a:lvl1pPr>
            <a:lvl2pPr marL="179388" indent="0">
              <a:buNone/>
              <a:defRPr sz="1800" b="0">
                <a:solidFill>
                  <a:schemeClr val="tx2">
                    <a:lumMod val="75000"/>
                  </a:schemeClr>
                </a:solidFill>
              </a:defRPr>
            </a:lvl2pPr>
            <a:lvl3pPr marL="360363" indent="0">
              <a:buNone/>
              <a:defRPr sz="1800" b="0">
                <a:solidFill>
                  <a:schemeClr val="tx2">
                    <a:lumMod val="75000"/>
                  </a:schemeClr>
                </a:solidFill>
              </a:defRPr>
            </a:lvl3pPr>
            <a:lvl4pPr marL="541337" indent="0">
              <a:buNone/>
              <a:defRPr sz="1800" b="0">
                <a:solidFill>
                  <a:schemeClr val="tx2">
                    <a:lumMod val="75000"/>
                  </a:schemeClr>
                </a:solidFill>
              </a:defRPr>
            </a:lvl4pPr>
            <a:lvl5pPr marL="673100" indent="0">
              <a:buNone/>
              <a:defRPr sz="1800" b="0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727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plat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CFE640F0-1785-4E75-9CBA-DA46356CF439}"/>
              </a:ext>
            </a:extLst>
          </p:cNvPr>
          <p:cNvSpPr/>
          <p:nvPr userDrawn="1"/>
        </p:nvSpPr>
        <p:spPr>
          <a:xfrm>
            <a:off x="762000" y="1"/>
            <a:ext cx="10668000" cy="6857999"/>
          </a:xfrm>
          <a:custGeom>
            <a:avLst/>
            <a:gdLst>
              <a:gd name="connsiteX0" fmla="*/ 1138594 w 10668000"/>
              <a:gd name="connsiteY0" fmla="*/ 0 h 6857999"/>
              <a:gd name="connsiteX1" fmla="*/ 9529406 w 10668000"/>
              <a:gd name="connsiteY1" fmla="*/ 0 h 6857999"/>
              <a:gd name="connsiteX2" fmla="*/ 9608323 w 10668000"/>
              <a:gd name="connsiteY2" fmla="*/ 100423 h 6857999"/>
              <a:gd name="connsiteX3" fmla="*/ 10668000 w 10668000"/>
              <a:gd name="connsiteY3" fmla="*/ 3291840 h 6857999"/>
              <a:gd name="connsiteX4" fmla="*/ 9449974 w 10668000"/>
              <a:gd name="connsiteY4" fmla="*/ 6684760 h 6857999"/>
              <a:gd name="connsiteX5" fmla="*/ 9299910 w 10668000"/>
              <a:gd name="connsiteY5" fmla="*/ 6857999 h 6857999"/>
              <a:gd name="connsiteX6" fmla="*/ 1368091 w 10668000"/>
              <a:gd name="connsiteY6" fmla="*/ 6857999 h 6857999"/>
              <a:gd name="connsiteX7" fmla="*/ 1218027 w 10668000"/>
              <a:gd name="connsiteY7" fmla="*/ 6684760 h 6857999"/>
              <a:gd name="connsiteX8" fmla="*/ 0 w 10668000"/>
              <a:gd name="connsiteY8" fmla="*/ 3291840 h 6857999"/>
              <a:gd name="connsiteX9" fmla="*/ 1059677 w 10668000"/>
              <a:gd name="connsiteY9" fmla="*/ 100423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668000" h="6857999">
                <a:moveTo>
                  <a:pt x="1138594" y="0"/>
                </a:moveTo>
                <a:lnTo>
                  <a:pt x="9529406" y="0"/>
                </a:lnTo>
                <a:lnTo>
                  <a:pt x="9608323" y="100423"/>
                </a:lnTo>
                <a:cubicBezTo>
                  <a:pt x="10273868" y="990361"/>
                  <a:pt x="10668000" y="2095074"/>
                  <a:pt x="10668000" y="3291840"/>
                </a:cubicBezTo>
                <a:cubicBezTo>
                  <a:pt x="10668000" y="4580666"/>
                  <a:pt x="10210900" y="5762730"/>
                  <a:pt x="9449974" y="6684760"/>
                </a:cubicBezTo>
                <a:lnTo>
                  <a:pt x="9299910" y="6857999"/>
                </a:lnTo>
                <a:lnTo>
                  <a:pt x="1368091" y="6857999"/>
                </a:lnTo>
                <a:lnTo>
                  <a:pt x="1218027" y="6684760"/>
                </a:lnTo>
                <a:cubicBezTo>
                  <a:pt x="457100" y="5762730"/>
                  <a:pt x="0" y="4580666"/>
                  <a:pt x="0" y="3291840"/>
                </a:cubicBezTo>
                <a:cubicBezTo>
                  <a:pt x="0" y="2095074"/>
                  <a:pt x="394132" y="990361"/>
                  <a:pt x="1059677" y="100423"/>
                </a:cubicBezTo>
                <a:close/>
              </a:path>
            </a:pathLst>
          </a:custGeom>
          <a:solidFill>
            <a:srgbClr val="0092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46" name="Cadre 45">
            <a:extLst>
              <a:ext uri="{FF2B5EF4-FFF2-40B4-BE49-F238E27FC236}">
                <a16:creationId xmlns:a16="http://schemas.microsoft.com/office/drawing/2014/main" id="{17C55E6C-E57F-4377-A05B-DF446746152E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866FA65A-92B8-432E-9E00-DC66520185E9}"/>
              </a:ext>
            </a:extLst>
          </p:cNvPr>
          <p:cNvGrpSpPr/>
          <p:nvPr userDrawn="1"/>
        </p:nvGrpSpPr>
        <p:grpSpPr>
          <a:xfrm>
            <a:off x="4210224" y="1157423"/>
            <a:ext cx="3771552" cy="970982"/>
            <a:chOff x="1291590" y="1157423"/>
            <a:chExt cx="3771552" cy="970982"/>
          </a:xfrm>
        </p:grpSpPr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3206FA29-FE3B-4174-B2F5-8BF6C46F0CAA}"/>
                </a:ext>
              </a:extLst>
            </p:cNvPr>
            <p:cNvSpPr/>
            <p:nvPr/>
          </p:nvSpPr>
          <p:spPr>
            <a:xfrm>
              <a:off x="1291590" y="1157423"/>
              <a:ext cx="830865" cy="970982"/>
            </a:xfrm>
            <a:custGeom>
              <a:avLst/>
              <a:gdLst>
                <a:gd name="connsiteX0" fmla="*/ 824455 w 830865"/>
                <a:gd name="connsiteY0" fmla="*/ 115635 h 970982"/>
                <a:gd name="connsiteX1" fmla="*/ 797118 w 830865"/>
                <a:gd name="connsiteY1" fmla="*/ 30602 h 970982"/>
                <a:gd name="connsiteX2" fmla="*/ 746557 w 830865"/>
                <a:gd name="connsiteY2" fmla="*/ 0 h 970982"/>
                <a:gd name="connsiteX3" fmla="*/ 644528 w 830865"/>
                <a:gd name="connsiteY3" fmla="*/ 74026 h 970982"/>
                <a:gd name="connsiteX4" fmla="*/ 432004 w 830865"/>
                <a:gd name="connsiteY4" fmla="*/ 499250 h 970982"/>
                <a:gd name="connsiteX5" fmla="*/ 228612 w 830865"/>
                <a:gd name="connsiteY5" fmla="*/ 373273 h 970982"/>
                <a:gd name="connsiteX6" fmla="*/ 147146 w 830865"/>
                <a:gd name="connsiteY6" fmla="*/ 389058 h 970982"/>
                <a:gd name="connsiteX7" fmla="*/ 0 w 830865"/>
                <a:gd name="connsiteY7" fmla="*/ 601640 h 970982"/>
                <a:gd name="connsiteX8" fmla="*/ 194502 w 830865"/>
                <a:gd name="connsiteY8" fmla="*/ 816883 h 970982"/>
                <a:gd name="connsiteX9" fmla="*/ 197949 w 830865"/>
                <a:gd name="connsiteY9" fmla="*/ 816944 h 970982"/>
                <a:gd name="connsiteX10" fmla="*/ 283406 w 830865"/>
                <a:gd name="connsiteY10" fmla="*/ 795171 h 970982"/>
                <a:gd name="connsiteX11" fmla="*/ 338563 w 830865"/>
                <a:gd name="connsiteY11" fmla="*/ 749329 h 970982"/>
                <a:gd name="connsiteX12" fmla="*/ 375456 w 830865"/>
                <a:gd name="connsiteY12" fmla="*/ 693144 h 970982"/>
                <a:gd name="connsiteX13" fmla="*/ 492907 w 830865"/>
                <a:gd name="connsiteY13" fmla="*/ 915463 h 970982"/>
                <a:gd name="connsiteX14" fmla="*/ 582598 w 830865"/>
                <a:gd name="connsiteY14" fmla="*/ 970983 h 970982"/>
                <a:gd name="connsiteX15" fmla="*/ 582658 w 830865"/>
                <a:gd name="connsiteY15" fmla="*/ 970983 h 970982"/>
                <a:gd name="connsiteX16" fmla="*/ 661886 w 830865"/>
                <a:gd name="connsiteY16" fmla="*/ 917096 h 970982"/>
                <a:gd name="connsiteX17" fmla="*/ 799779 w 830865"/>
                <a:gd name="connsiteY17" fmla="*/ 531243 h 970982"/>
                <a:gd name="connsiteX18" fmla="*/ 830865 w 830865"/>
                <a:gd name="connsiteY18" fmla="*/ 227823 h 970982"/>
                <a:gd name="connsiteX19" fmla="*/ 824455 w 830865"/>
                <a:gd name="connsiteY19" fmla="*/ 115635 h 970982"/>
                <a:gd name="connsiteX20" fmla="*/ 247905 w 830865"/>
                <a:gd name="connsiteY20" fmla="*/ 773339 h 970982"/>
                <a:gd name="connsiteX21" fmla="*/ 226979 w 830865"/>
                <a:gd name="connsiteY21" fmla="*/ 775516 h 970982"/>
                <a:gd name="connsiteX22" fmla="*/ 100517 w 830865"/>
                <a:gd name="connsiteY22" fmla="*/ 667925 h 970982"/>
                <a:gd name="connsiteX23" fmla="*/ 98037 w 830865"/>
                <a:gd name="connsiteY23" fmla="*/ 640407 h 970982"/>
                <a:gd name="connsiteX24" fmla="*/ 187063 w 830865"/>
                <a:gd name="connsiteY24" fmla="*/ 514007 h 970982"/>
                <a:gd name="connsiteX25" fmla="*/ 217000 w 830865"/>
                <a:gd name="connsiteY25" fmla="*/ 509229 h 970982"/>
                <a:gd name="connsiteX26" fmla="*/ 359671 w 830865"/>
                <a:gd name="connsiteY26" fmla="*/ 654982 h 970982"/>
                <a:gd name="connsiteX27" fmla="*/ 247905 w 830865"/>
                <a:gd name="connsiteY27" fmla="*/ 773339 h 970982"/>
                <a:gd name="connsiteX28" fmla="*/ 727022 w 830865"/>
                <a:gd name="connsiteY28" fmla="*/ 620268 h 970982"/>
                <a:gd name="connsiteX29" fmla="*/ 622574 w 830865"/>
                <a:gd name="connsiteY29" fmla="*/ 688366 h 970982"/>
                <a:gd name="connsiteX30" fmla="*/ 615982 w 830865"/>
                <a:gd name="connsiteY30" fmla="*/ 688064 h 970982"/>
                <a:gd name="connsiteX31" fmla="*/ 451841 w 830865"/>
                <a:gd name="connsiteY31" fmla="*/ 533541 h 970982"/>
                <a:gd name="connsiteX32" fmla="*/ 537359 w 830865"/>
                <a:gd name="connsiteY32" fmla="*/ 364444 h 970982"/>
                <a:gd name="connsiteX33" fmla="*/ 607636 w 830865"/>
                <a:gd name="connsiteY33" fmla="*/ 287454 h 970982"/>
                <a:gd name="connsiteX34" fmla="*/ 665091 w 830865"/>
                <a:gd name="connsiteY34" fmla="*/ 261811 h 970982"/>
                <a:gd name="connsiteX35" fmla="*/ 696601 w 830865"/>
                <a:gd name="connsiteY35" fmla="*/ 262658 h 970982"/>
                <a:gd name="connsiteX36" fmla="*/ 753815 w 830865"/>
                <a:gd name="connsiteY36" fmla="*/ 305537 h 970982"/>
                <a:gd name="connsiteX37" fmla="*/ 780849 w 830865"/>
                <a:gd name="connsiteY37" fmla="*/ 404299 h 970982"/>
                <a:gd name="connsiteX38" fmla="*/ 727022 w 830865"/>
                <a:gd name="connsiteY38" fmla="*/ 620268 h 97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30865" h="970982">
                  <a:moveTo>
                    <a:pt x="824455" y="115635"/>
                  </a:moveTo>
                  <a:cubicBezTo>
                    <a:pt x="819616" y="78924"/>
                    <a:pt x="810302" y="50318"/>
                    <a:pt x="797118" y="30602"/>
                  </a:cubicBezTo>
                  <a:cubicBezTo>
                    <a:pt x="783994" y="10886"/>
                    <a:pt x="768451" y="0"/>
                    <a:pt x="746557" y="0"/>
                  </a:cubicBezTo>
                  <a:cubicBezTo>
                    <a:pt x="716136" y="0"/>
                    <a:pt x="683114" y="21047"/>
                    <a:pt x="644528" y="74026"/>
                  </a:cubicBezTo>
                  <a:cubicBezTo>
                    <a:pt x="582779" y="158938"/>
                    <a:pt x="510446" y="313158"/>
                    <a:pt x="432004" y="499250"/>
                  </a:cubicBezTo>
                  <a:cubicBezTo>
                    <a:pt x="400434" y="448146"/>
                    <a:pt x="331790" y="373334"/>
                    <a:pt x="228612" y="373273"/>
                  </a:cubicBezTo>
                  <a:cubicBezTo>
                    <a:pt x="203150" y="373273"/>
                    <a:pt x="175934" y="378051"/>
                    <a:pt x="147146" y="389058"/>
                  </a:cubicBezTo>
                  <a:cubicBezTo>
                    <a:pt x="36892" y="431151"/>
                    <a:pt x="-60" y="533058"/>
                    <a:pt x="0" y="601640"/>
                  </a:cubicBezTo>
                  <a:cubicBezTo>
                    <a:pt x="0" y="718243"/>
                    <a:pt x="88300" y="814767"/>
                    <a:pt x="194502" y="816883"/>
                  </a:cubicBezTo>
                  <a:cubicBezTo>
                    <a:pt x="195651" y="816944"/>
                    <a:pt x="196800" y="816944"/>
                    <a:pt x="197949" y="816944"/>
                  </a:cubicBezTo>
                  <a:cubicBezTo>
                    <a:pt x="226677" y="816944"/>
                    <a:pt x="258428" y="808719"/>
                    <a:pt x="283406" y="795171"/>
                  </a:cubicBezTo>
                  <a:cubicBezTo>
                    <a:pt x="305481" y="783197"/>
                    <a:pt x="324109" y="766988"/>
                    <a:pt x="338563" y="749329"/>
                  </a:cubicBezTo>
                  <a:cubicBezTo>
                    <a:pt x="355740" y="728403"/>
                    <a:pt x="367654" y="708022"/>
                    <a:pt x="375456" y="693144"/>
                  </a:cubicBezTo>
                  <a:cubicBezTo>
                    <a:pt x="418820" y="797107"/>
                    <a:pt x="461155" y="875487"/>
                    <a:pt x="492907" y="915463"/>
                  </a:cubicBezTo>
                  <a:cubicBezTo>
                    <a:pt x="521574" y="951327"/>
                    <a:pt x="552237" y="970983"/>
                    <a:pt x="582598" y="970983"/>
                  </a:cubicBezTo>
                  <a:lnTo>
                    <a:pt x="582658" y="970983"/>
                  </a:lnTo>
                  <a:cubicBezTo>
                    <a:pt x="611386" y="970983"/>
                    <a:pt x="638722" y="953081"/>
                    <a:pt x="661886" y="917096"/>
                  </a:cubicBezTo>
                  <a:cubicBezTo>
                    <a:pt x="724845" y="819665"/>
                    <a:pt x="768330" y="672521"/>
                    <a:pt x="799779" y="531243"/>
                  </a:cubicBezTo>
                  <a:cubicBezTo>
                    <a:pt x="818346" y="447662"/>
                    <a:pt x="830865" y="330515"/>
                    <a:pt x="830865" y="227823"/>
                  </a:cubicBezTo>
                  <a:cubicBezTo>
                    <a:pt x="830805" y="187181"/>
                    <a:pt x="828809" y="148777"/>
                    <a:pt x="824455" y="115635"/>
                  </a:cubicBezTo>
                  <a:close/>
                  <a:moveTo>
                    <a:pt x="247905" y="773339"/>
                  </a:moveTo>
                  <a:cubicBezTo>
                    <a:pt x="241313" y="774730"/>
                    <a:pt x="234297" y="775516"/>
                    <a:pt x="226979" y="775516"/>
                  </a:cubicBezTo>
                  <a:cubicBezTo>
                    <a:pt x="176539" y="775455"/>
                    <a:pt x="113883" y="740438"/>
                    <a:pt x="100517" y="667925"/>
                  </a:cubicBezTo>
                  <a:cubicBezTo>
                    <a:pt x="98884" y="658974"/>
                    <a:pt x="98037" y="649721"/>
                    <a:pt x="98037" y="640407"/>
                  </a:cubicBezTo>
                  <a:cubicBezTo>
                    <a:pt x="98098" y="588093"/>
                    <a:pt x="124648" y="533965"/>
                    <a:pt x="187063" y="514007"/>
                  </a:cubicBezTo>
                  <a:cubicBezTo>
                    <a:pt x="197284" y="510741"/>
                    <a:pt x="207263" y="509229"/>
                    <a:pt x="217000" y="509229"/>
                  </a:cubicBezTo>
                  <a:cubicBezTo>
                    <a:pt x="274213" y="509229"/>
                    <a:pt x="327072" y="565414"/>
                    <a:pt x="359671" y="654982"/>
                  </a:cubicBezTo>
                  <a:cubicBezTo>
                    <a:pt x="343583" y="693689"/>
                    <a:pt x="305058" y="761183"/>
                    <a:pt x="247905" y="773339"/>
                  </a:cubicBezTo>
                  <a:close/>
                  <a:moveTo>
                    <a:pt x="727022" y="620268"/>
                  </a:moveTo>
                  <a:cubicBezTo>
                    <a:pt x="698537" y="663207"/>
                    <a:pt x="656624" y="688366"/>
                    <a:pt x="622574" y="688366"/>
                  </a:cubicBezTo>
                  <a:cubicBezTo>
                    <a:pt x="620397" y="688366"/>
                    <a:pt x="618220" y="688306"/>
                    <a:pt x="615982" y="688064"/>
                  </a:cubicBezTo>
                  <a:cubicBezTo>
                    <a:pt x="534214" y="680807"/>
                    <a:pt x="472949" y="571099"/>
                    <a:pt x="451841" y="533541"/>
                  </a:cubicBezTo>
                  <a:cubicBezTo>
                    <a:pt x="482867" y="456008"/>
                    <a:pt x="508268" y="406899"/>
                    <a:pt x="537359" y="364444"/>
                  </a:cubicBezTo>
                  <a:cubicBezTo>
                    <a:pt x="562035" y="328398"/>
                    <a:pt x="586166" y="303421"/>
                    <a:pt x="607636" y="287454"/>
                  </a:cubicBezTo>
                  <a:cubicBezTo>
                    <a:pt x="628380" y="272032"/>
                    <a:pt x="647492" y="264231"/>
                    <a:pt x="665091" y="261811"/>
                  </a:cubicBezTo>
                  <a:cubicBezTo>
                    <a:pt x="676522" y="260179"/>
                    <a:pt x="687106" y="260541"/>
                    <a:pt x="696601" y="262658"/>
                  </a:cubicBezTo>
                  <a:cubicBezTo>
                    <a:pt x="721277" y="268222"/>
                    <a:pt x="740993" y="285761"/>
                    <a:pt x="753815" y="305537"/>
                  </a:cubicBezTo>
                  <a:cubicBezTo>
                    <a:pt x="771354" y="332571"/>
                    <a:pt x="780849" y="368737"/>
                    <a:pt x="780849" y="404299"/>
                  </a:cubicBezTo>
                  <a:cubicBezTo>
                    <a:pt x="780909" y="501064"/>
                    <a:pt x="758109" y="573457"/>
                    <a:pt x="727022" y="62026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832B58-83CC-43B4-8EAB-C92CB5350BD8}"/>
                </a:ext>
              </a:extLst>
            </p:cNvPr>
            <p:cNvSpPr/>
            <p:nvPr/>
          </p:nvSpPr>
          <p:spPr>
            <a:xfrm>
              <a:off x="2631027" y="1587848"/>
              <a:ext cx="339168" cy="354041"/>
            </a:xfrm>
            <a:custGeom>
              <a:avLst/>
              <a:gdLst>
                <a:gd name="connsiteX0" fmla="*/ 284858 w 339168"/>
                <a:gd name="connsiteY0" fmla="*/ 302272 h 354041"/>
                <a:gd name="connsiteX1" fmla="*/ 280503 w 339168"/>
                <a:gd name="connsiteY1" fmla="*/ 177383 h 354041"/>
                <a:gd name="connsiteX2" fmla="*/ 280503 w 339168"/>
                <a:gd name="connsiteY2" fmla="*/ 96766 h 354041"/>
                <a:gd name="connsiteX3" fmla="*/ 157428 w 339168"/>
                <a:gd name="connsiteY3" fmla="*/ 0 h 354041"/>
                <a:gd name="connsiteX4" fmla="*/ 24434 w 339168"/>
                <a:gd name="connsiteY4" fmla="*/ 46206 h 354041"/>
                <a:gd name="connsiteX5" fmla="*/ 33808 w 339168"/>
                <a:gd name="connsiteY5" fmla="*/ 70578 h 354041"/>
                <a:gd name="connsiteX6" fmla="*/ 119386 w 339168"/>
                <a:gd name="connsiteY6" fmla="*/ 57515 h 354041"/>
                <a:gd name="connsiteX7" fmla="*/ 196195 w 339168"/>
                <a:gd name="connsiteY7" fmla="*/ 116119 h 354041"/>
                <a:gd name="connsiteX8" fmla="*/ 196195 w 339168"/>
                <a:gd name="connsiteY8" fmla="*/ 156942 h 354041"/>
                <a:gd name="connsiteX9" fmla="*/ 141159 w 339168"/>
                <a:gd name="connsiteY9" fmla="*/ 163171 h 354041"/>
                <a:gd name="connsiteX10" fmla="*/ 0 w 339168"/>
                <a:gd name="connsiteY10" fmla="*/ 274572 h 354041"/>
                <a:gd name="connsiteX11" fmla="*/ 84973 w 339168"/>
                <a:gd name="connsiteY11" fmla="*/ 354041 h 354041"/>
                <a:gd name="connsiteX12" fmla="*/ 197344 w 339168"/>
                <a:gd name="connsiteY12" fmla="*/ 295317 h 354041"/>
                <a:gd name="connsiteX13" fmla="*/ 257400 w 339168"/>
                <a:gd name="connsiteY13" fmla="*/ 353436 h 354041"/>
                <a:gd name="connsiteX14" fmla="*/ 339168 w 339168"/>
                <a:gd name="connsiteY14" fmla="*/ 319085 h 354041"/>
                <a:gd name="connsiteX15" fmla="*/ 336689 w 339168"/>
                <a:gd name="connsiteY15" fmla="*/ 302211 h 354041"/>
                <a:gd name="connsiteX16" fmla="*/ 284858 w 339168"/>
                <a:gd name="connsiteY16" fmla="*/ 302211 h 354041"/>
                <a:gd name="connsiteX17" fmla="*/ 196195 w 339168"/>
                <a:gd name="connsiteY17" fmla="*/ 276689 h 354041"/>
                <a:gd name="connsiteX18" fmla="*/ 128095 w 339168"/>
                <a:gd name="connsiteY18" fmla="*/ 294167 h 354041"/>
                <a:gd name="connsiteX19" fmla="*/ 85639 w 339168"/>
                <a:gd name="connsiteY19" fmla="*/ 250260 h 354041"/>
                <a:gd name="connsiteX20" fmla="*/ 157428 w 339168"/>
                <a:gd name="connsiteY20" fmla="*/ 191959 h 354041"/>
                <a:gd name="connsiteX21" fmla="*/ 196195 w 339168"/>
                <a:gd name="connsiteY21" fmla="*/ 185064 h 354041"/>
                <a:gd name="connsiteX22" fmla="*/ 196195 w 339168"/>
                <a:gd name="connsiteY22" fmla="*/ 276689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9168" h="354041">
                  <a:moveTo>
                    <a:pt x="284858" y="302272"/>
                  </a:moveTo>
                  <a:lnTo>
                    <a:pt x="280503" y="177383"/>
                  </a:lnTo>
                  <a:lnTo>
                    <a:pt x="280503" y="96766"/>
                  </a:lnTo>
                  <a:cubicBezTo>
                    <a:pt x="280503" y="11249"/>
                    <a:pt x="208654" y="0"/>
                    <a:pt x="157428" y="0"/>
                  </a:cubicBezTo>
                  <a:cubicBezTo>
                    <a:pt x="103722" y="0"/>
                    <a:pt x="49956" y="28123"/>
                    <a:pt x="24434" y="46206"/>
                  </a:cubicBezTo>
                  <a:lnTo>
                    <a:pt x="33808" y="70578"/>
                  </a:lnTo>
                  <a:cubicBezTo>
                    <a:pt x="66285" y="61809"/>
                    <a:pt x="96888" y="57515"/>
                    <a:pt x="119386" y="57515"/>
                  </a:cubicBezTo>
                  <a:cubicBezTo>
                    <a:pt x="170612" y="57515"/>
                    <a:pt x="196195" y="73663"/>
                    <a:pt x="196195" y="116119"/>
                  </a:cubicBezTo>
                  <a:lnTo>
                    <a:pt x="196195" y="156942"/>
                  </a:lnTo>
                  <a:lnTo>
                    <a:pt x="141159" y="163171"/>
                  </a:lnTo>
                  <a:cubicBezTo>
                    <a:pt x="73785" y="171275"/>
                    <a:pt x="0" y="192443"/>
                    <a:pt x="0" y="274572"/>
                  </a:cubicBezTo>
                  <a:cubicBezTo>
                    <a:pt x="0" y="318298"/>
                    <a:pt x="32538" y="354041"/>
                    <a:pt x="84973" y="354041"/>
                  </a:cubicBezTo>
                  <a:cubicBezTo>
                    <a:pt x="139284" y="354041"/>
                    <a:pt x="174906" y="322834"/>
                    <a:pt x="197344" y="295317"/>
                  </a:cubicBezTo>
                  <a:cubicBezTo>
                    <a:pt x="199824" y="331543"/>
                    <a:pt x="211738" y="353436"/>
                    <a:pt x="257400" y="353436"/>
                  </a:cubicBezTo>
                  <a:cubicBezTo>
                    <a:pt x="281713" y="353436"/>
                    <a:pt x="319815" y="337168"/>
                    <a:pt x="339168" y="319085"/>
                  </a:cubicBezTo>
                  <a:lnTo>
                    <a:pt x="336689" y="302211"/>
                  </a:lnTo>
                  <a:lnTo>
                    <a:pt x="284858" y="302211"/>
                  </a:lnTo>
                  <a:close/>
                  <a:moveTo>
                    <a:pt x="196195" y="276689"/>
                  </a:moveTo>
                  <a:cubicBezTo>
                    <a:pt x="176176" y="286063"/>
                    <a:pt x="154343" y="294167"/>
                    <a:pt x="128095" y="294167"/>
                  </a:cubicBezTo>
                  <a:cubicBezTo>
                    <a:pt x="101847" y="294167"/>
                    <a:pt x="85639" y="276750"/>
                    <a:pt x="85639" y="250260"/>
                  </a:cubicBezTo>
                  <a:cubicBezTo>
                    <a:pt x="85639" y="216574"/>
                    <a:pt x="118056" y="198128"/>
                    <a:pt x="157428" y="191959"/>
                  </a:cubicBezTo>
                  <a:lnTo>
                    <a:pt x="196195" y="185064"/>
                  </a:lnTo>
                  <a:lnTo>
                    <a:pt x="196195" y="276689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D5B789E-70A0-4225-A898-C1AA9A60748B}"/>
                </a:ext>
              </a:extLst>
            </p:cNvPr>
            <p:cNvSpPr/>
            <p:nvPr/>
          </p:nvSpPr>
          <p:spPr>
            <a:xfrm>
              <a:off x="4433371" y="1587304"/>
              <a:ext cx="259577" cy="354766"/>
            </a:xfrm>
            <a:custGeom>
              <a:avLst/>
              <a:gdLst>
                <a:gd name="connsiteX0" fmla="*/ 73301 w 259577"/>
                <a:gd name="connsiteY0" fmla="*/ 75477 h 354766"/>
                <a:gd name="connsiteX1" fmla="*/ 125737 w 259577"/>
                <a:gd name="connsiteY1" fmla="*/ 35501 h 354766"/>
                <a:gd name="connsiteX2" fmla="*/ 209319 w 259577"/>
                <a:gd name="connsiteY2" fmla="*/ 107349 h 354766"/>
                <a:gd name="connsiteX3" fmla="*/ 229943 w 259577"/>
                <a:gd name="connsiteY3" fmla="*/ 109224 h 354766"/>
                <a:gd name="connsiteX4" fmla="*/ 240526 w 259577"/>
                <a:gd name="connsiteY4" fmla="*/ 26187 h 354766"/>
                <a:gd name="connsiteX5" fmla="*/ 132027 w 259577"/>
                <a:gd name="connsiteY5" fmla="*/ 0 h 354766"/>
                <a:gd name="connsiteX6" fmla="*/ 303 w 259577"/>
                <a:gd name="connsiteY6" fmla="*/ 106805 h 354766"/>
                <a:gd name="connsiteX7" fmla="*/ 176539 w 259577"/>
                <a:gd name="connsiteY7" fmla="*/ 273544 h 354766"/>
                <a:gd name="connsiteX8" fmla="*/ 118237 w 259577"/>
                <a:gd name="connsiteY8" fmla="*/ 318540 h 354766"/>
                <a:gd name="connsiteX9" fmla="*/ 29937 w 259577"/>
                <a:gd name="connsiteY9" fmla="*/ 236108 h 354766"/>
                <a:gd name="connsiteX10" fmla="*/ 5625 w 259577"/>
                <a:gd name="connsiteY10" fmla="*/ 235503 h 354766"/>
                <a:gd name="connsiteX11" fmla="*/ 0 w 259577"/>
                <a:gd name="connsiteY11" fmla="*/ 327975 h 354766"/>
                <a:gd name="connsiteX12" fmla="*/ 117028 w 259577"/>
                <a:gd name="connsiteY12" fmla="*/ 354767 h 354766"/>
                <a:gd name="connsiteX13" fmla="*/ 259578 w 259577"/>
                <a:gd name="connsiteY13" fmla="*/ 242458 h 354766"/>
                <a:gd name="connsiteX14" fmla="*/ 73301 w 259577"/>
                <a:gd name="connsiteY14" fmla="*/ 75477 h 35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577" h="354766">
                  <a:moveTo>
                    <a:pt x="73301" y="75477"/>
                  </a:moveTo>
                  <a:cubicBezTo>
                    <a:pt x="73301" y="51165"/>
                    <a:pt x="92050" y="35501"/>
                    <a:pt x="125737" y="35501"/>
                  </a:cubicBezTo>
                  <a:cubicBezTo>
                    <a:pt x="187063" y="35501"/>
                    <a:pt x="200550" y="69248"/>
                    <a:pt x="209319" y="107349"/>
                  </a:cubicBezTo>
                  <a:lnTo>
                    <a:pt x="229943" y="109224"/>
                  </a:lnTo>
                  <a:lnTo>
                    <a:pt x="240526" y="26187"/>
                  </a:lnTo>
                  <a:cubicBezTo>
                    <a:pt x="203755" y="7439"/>
                    <a:pt x="172245" y="0"/>
                    <a:pt x="132027" y="0"/>
                  </a:cubicBezTo>
                  <a:cubicBezTo>
                    <a:pt x="62112" y="0"/>
                    <a:pt x="303" y="41791"/>
                    <a:pt x="303" y="106805"/>
                  </a:cubicBezTo>
                  <a:cubicBezTo>
                    <a:pt x="303" y="223529"/>
                    <a:pt x="176539" y="215424"/>
                    <a:pt x="176539" y="273544"/>
                  </a:cubicBezTo>
                  <a:cubicBezTo>
                    <a:pt x="176539" y="302272"/>
                    <a:pt x="152650" y="318540"/>
                    <a:pt x="118237" y="318540"/>
                  </a:cubicBezTo>
                  <a:cubicBezTo>
                    <a:pt x="69793" y="318540"/>
                    <a:pt x="38042" y="284793"/>
                    <a:pt x="29937" y="236108"/>
                  </a:cubicBezTo>
                  <a:lnTo>
                    <a:pt x="5625" y="235503"/>
                  </a:lnTo>
                  <a:lnTo>
                    <a:pt x="0" y="327975"/>
                  </a:lnTo>
                  <a:cubicBezTo>
                    <a:pt x="37437" y="344788"/>
                    <a:pt x="72999" y="354767"/>
                    <a:pt x="117028" y="354767"/>
                  </a:cubicBezTo>
                  <a:cubicBezTo>
                    <a:pt x="181377" y="354767"/>
                    <a:pt x="259578" y="324286"/>
                    <a:pt x="259578" y="242458"/>
                  </a:cubicBezTo>
                  <a:cubicBezTo>
                    <a:pt x="259578" y="134202"/>
                    <a:pt x="73301" y="142366"/>
                    <a:pt x="73301" y="75477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D775D14-6C6B-4879-AAD7-CA6122AA68EF}"/>
                </a:ext>
              </a:extLst>
            </p:cNvPr>
            <p:cNvSpPr/>
            <p:nvPr/>
          </p:nvSpPr>
          <p:spPr>
            <a:xfrm>
              <a:off x="4235725" y="1413609"/>
              <a:ext cx="100577" cy="100515"/>
            </a:xfrm>
            <a:custGeom>
              <a:avLst/>
              <a:gdLst>
                <a:gd name="connsiteX0" fmla="*/ 50379 w 100577"/>
                <a:gd name="connsiteY0" fmla="*/ 100515 h 100515"/>
                <a:gd name="connsiteX1" fmla="*/ 100577 w 100577"/>
                <a:gd name="connsiteY1" fmla="*/ 50258 h 100515"/>
                <a:gd name="connsiteX2" fmla="*/ 50379 w 100577"/>
                <a:gd name="connsiteY2" fmla="*/ 0 h 100515"/>
                <a:gd name="connsiteX3" fmla="*/ 0 w 100577"/>
                <a:gd name="connsiteY3" fmla="*/ 50258 h 100515"/>
                <a:gd name="connsiteX4" fmla="*/ 50379 w 100577"/>
                <a:gd name="connsiteY4" fmla="*/ 100515 h 1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77" h="100515">
                  <a:moveTo>
                    <a:pt x="50379" y="100515"/>
                  </a:moveTo>
                  <a:cubicBezTo>
                    <a:pt x="78200" y="100515"/>
                    <a:pt x="100577" y="78017"/>
                    <a:pt x="100577" y="50258"/>
                  </a:cubicBezTo>
                  <a:cubicBezTo>
                    <a:pt x="100577" y="22498"/>
                    <a:pt x="78139" y="0"/>
                    <a:pt x="50379" y="0"/>
                  </a:cubicBezTo>
                  <a:cubicBezTo>
                    <a:pt x="22619" y="0"/>
                    <a:pt x="0" y="22498"/>
                    <a:pt x="0" y="50258"/>
                  </a:cubicBezTo>
                  <a:cubicBezTo>
                    <a:pt x="61" y="78017"/>
                    <a:pt x="22619" y="100515"/>
                    <a:pt x="50379" y="100515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6462DC3-7443-474B-A5F5-5F66BE47E7BF}"/>
                </a:ext>
              </a:extLst>
            </p:cNvPr>
            <p:cNvSpPr/>
            <p:nvPr/>
          </p:nvSpPr>
          <p:spPr>
            <a:xfrm>
              <a:off x="4748106" y="1586638"/>
              <a:ext cx="315036" cy="355311"/>
            </a:xfrm>
            <a:custGeom>
              <a:avLst/>
              <a:gdLst>
                <a:gd name="connsiteX0" fmla="*/ 314976 w 315036"/>
                <a:gd name="connsiteY0" fmla="*/ 162990 h 355311"/>
                <a:gd name="connsiteX1" fmla="*/ 174422 w 315036"/>
                <a:gd name="connsiteY1" fmla="*/ 0 h 355311"/>
                <a:gd name="connsiteX2" fmla="*/ 0 w 315036"/>
                <a:gd name="connsiteY2" fmla="*/ 189056 h 355311"/>
                <a:gd name="connsiteX3" fmla="*/ 175087 w 315036"/>
                <a:gd name="connsiteY3" fmla="*/ 355311 h 355311"/>
                <a:gd name="connsiteX4" fmla="*/ 310622 w 315036"/>
                <a:gd name="connsiteY4" fmla="*/ 299127 h 355311"/>
                <a:gd name="connsiteX5" fmla="*/ 301308 w 315036"/>
                <a:gd name="connsiteY5" fmla="*/ 277959 h 355311"/>
                <a:gd name="connsiteX6" fmla="*/ 206295 w 315036"/>
                <a:gd name="connsiteY6" fmla="*/ 290781 h 355311"/>
                <a:gd name="connsiteX7" fmla="*/ 88965 w 315036"/>
                <a:gd name="connsiteY7" fmla="*/ 177988 h 355311"/>
                <a:gd name="connsiteX8" fmla="*/ 315037 w 315036"/>
                <a:gd name="connsiteY8" fmla="*/ 177988 h 355311"/>
                <a:gd name="connsiteX9" fmla="*/ 315037 w 315036"/>
                <a:gd name="connsiteY9" fmla="*/ 162990 h 355311"/>
                <a:gd name="connsiteX10" fmla="*/ 88300 w 315036"/>
                <a:gd name="connsiteY10" fmla="*/ 144181 h 355311"/>
                <a:gd name="connsiteX11" fmla="*/ 160149 w 315036"/>
                <a:gd name="connsiteY11" fmla="*/ 36771 h 355311"/>
                <a:gd name="connsiteX12" fmla="*/ 223834 w 315036"/>
                <a:gd name="connsiteY12" fmla="*/ 144181 h 355311"/>
                <a:gd name="connsiteX13" fmla="*/ 88300 w 315036"/>
                <a:gd name="connsiteY13" fmla="*/ 144181 h 35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36" h="355311">
                  <a:moveTo>
                    <a:pt x="314976" y="162990"/>
                  </a:moveTo>
                  <a:cubicBezTo>
                    <a:pt x="314976" y="74268"/>
                    <a:pt x="272520" y="0"/>
                    <a:pt x="174422" y="0"/>
                  </a:cubicBezTo>
                  <a:cubicBezTo>
                    <a:pt x="70700" y="0"/>
                    <a:pt x="0" y="90355"/>
                    <a:pt x="0" y="189056"/>
                  </a:cubicBezTo>
                  <a:cubicBezTo>
                    <a:pt x="0" y="290599"/>
                    <a:pt x="62052" y="355311"/>
                    <a:pt x="175087" y="355311"/>
                  </a:cubicBezTo>
                  <a:cubicBezTo>
                    <a:pt x="233208" y="355311"/>
                    <a:pt x="283769" y="330999"/>
                    <a:pt x="310622" y="299127"/>
                  </a:cubicBezTo>
                  <a:lnTo>
                    <a:pt x="301308" y="277959"/>
                  </a:lnTo>
                  <a:cubicBezTo>
                    <a:pt x="263811" y="286668"/>
                    <a:pt x="229459" y="290781"/>
                    <a:pt x="206295" y="290781"/>
                  </a:cubicBezTo>
                  <a:cubicBezTo>
                    <a:pt x="140735" y="290781"/>
                    <a:pt x="94589" y="262900"/>
                    <a:pt x="88965" y="177988"/>
                  </a:cubicBezTo>
                  <a:lnTo>
                    <a:pt x="315037" y="177988"/>
                  </a:lnTo>
                  <a:lnTo>
                    <a:pt x="315037" y="162990"/>
                  </a:lnTo>
                  <a:close/>
                  <a:moveTo>
                    <a:pt x="88300" y="144181"/>
                  </a:moveTo>
                  <a:cubicBezTo>
                    <a:pt x="90175" y="70518"/>
                    <a:pt x="120172" y="36771"/>
                    <a:pt x="160149" y="36771"/>
                  </a:cubicBezTo>
                  <a:cubicBezTo>
                    <a:pt x="206295" y="36771"/>
                    <a:pt x="223834" y="81102"/>
                    <a:pt x="223834" y="144181"/>
                  </a:cubicBezTo>
                  <a:lnTo>
                    <a:pt x="88300" y="144181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77E9C25D-647F-4955-8251-DE2187798099}"/>
                </a:ext>
              </a:extLst>
            </p:cNvPr>
            <p:cNvSpPr/>
            <p:nvPr/>
          </p:nvSpPr>
          <p:spPr>
            <a:xfrm>
              <a:off x="4187341" y="1588513"/>
              <a:ext cx="200549" cy="347811"/>
            </a:xfrm>
            <a:custGeom>
              <a:avLst/>
              <a:gdLst>
                <a:gd name="connsiteX0" fmla="*/ 143699 w 200549"/>
                <a:gd name="connsiteY0" fmla="*/ 292232 h 347811"/>
                <a:gd name="connsiteX1" fmla="*/ 142429 w 200549"/>
                <a:gd name="connsiteY1" fmla="*/ 177323 h 347811"/>
                <a:gd name="connsiteX2" fmla="*/ 142429 w 200549"/>
                <a:gd name="connsiteY2" fmla="*/ 27457 h 347811"/>
                <a:gd name="connsiteX3" fmla="*/ 113096 w 200549"/>
                <a:gd name="connsiteY3" fmla="*/ 0 h 347811"/>
                <a:gd name="connsiteX4" fmla="*/ 0 w 200549"/>
                <a:gd name="connsiteY4" fmla="*/ 13729 h 347811"/>
                <a:gd name="connsiteX5" fmla="*/ 0 w 200549"/>
                <a:gd name="connsiteY5" fmla="*/ 42456 h 347811"/>
                <a:gd name="connsiteX6" fmla="*/ 57455 w 200549"/>
                <a:gd name="connsiteY6" fmla="*/ 42456 h 347811"/>
                <a:gd name="connsiteX7" fmla="*/ 57455 w 200549"/>
                <a:gd name="connsiteY7" fmla="*/ 177323 h 347811"/>
                <a:gd name="connsiteX8" fmla="*/ 55641 w 200549"/>
                <a:gd name="connsiteY8" fmla="*/ 287878 h 347811"/>
                <a:gd name="connsiteX9" fmla="*/ 38767 w 200549"/>
                <a:gd name="connsiteY9" fmla="*/ 316000 h 347811"/>
                <a:gd name="connsiteX10" fmla="*/ 665 w 200549"/>
                <a:gd name="connsiteY10" fmla="*/ 327854 h 347811"/>
                <a:gd name="connsiteX11" fmla="*/ 3145 w 200549"/>
                <a:gd name="connsiteY11" fmla="*/ 347812 h 347811"/>
                <a:gd name="connsiteX12" fmla="*/ 196800 w 200549"/>
                <a:gd name="connsiteY12" fmla="*/ 347812 h 347811"/>
                <a:gd name="connsiteX13" fmla="*/ 200550 w 200549"/>
                <a:gd name="connsiteY13" fmla="*/ 325919 h 347811"/>
                <a:gd name="connsiteX14" fmla="*/ 154283 w 200549"/>
                <a:gd name="connsiteY14" fmla="*/ 314730 h 347811"/>
                <a:gd name="connsiteX15" fmla="*/ 143699 w 200549"/>
                <a:gd name="connsiteY15" fmla="*/ 292232 h 34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549" h="347811">
                  <a:moveTo>
                    <a:pt x="143699" y="292232"/>
                  </a:moveTo>
                  <a:lnTo>
                    <a:pt x="142429" y="177323"/>
                  </a:lnTo>
                  <a:lnTo>
                    <a:pt x="142429" y="27457"/>
                  </a:lnTo>
                  <a:cubicBezTo>
                    <a:pt x="142429" y="5564"/>
                    <a:pt x="132450" y="0"/>
                    <a:pt x="113096" y="0"/>
                  </a:cubicBezTo>
                  <a:cubicBezTo>
                    <a:pt x="83099" y="0"/>
                    <a:pt x="33748" y="6229"/>
                    <a:pt x="0" y="13729"/>
                  </a:cubicBezTo>
                  <a:lnTo>
                    <a:pt x="0" y="42456"/>
                  </a:lnTo>
                  <a:lnTo>
                    <a:pt x="57455" y="42456"/>
                  </a:lnTo>
                  <a:lnTo>
                    <a:pt x="57455" y="177323"/>
                  </a:lnTo>
                  <a:lnTo>
                    <a:pt x="55641" y="287878"/>
                  </a:lnTo>
                  <a:cubicBezTo>
                    <a:pt x="55641" y="301667"/>
                    <a:pt x="50017" y="312251"/>
                    <a:pt x="38767" y="316000"/>
                  </a:cubicBezTo>
                  <a:lnTo>
                    <a:pt x="665" y="327854"/>
                  </a:lnTo>
                  <a:cubicBezTo>
                    <a:pt x="665" y="335958"/>
                    <a:pt x="1935" y="339708"/>
                    <a:pt x="3145" y="347812"/>
                  </a:cubicBezTo>
                  <a:lnTo>
                    <a:pt x="196800" y="347812"/>
                  </a:lnTo>
                  <a:cubicBezTo>
                    <a:pt x="199945" y="339708"/>
                    <a:pt x="200550" y="332208"/>
                    <a:pt x="200550" y="325919"/>
                  </a:cubicBezTo>
                  <a:lnTo>
                    <a:pt x="154283" y="314730"/>
                  </a:lnTo>
                  <a:cubicBezTo>
                    <a:pt x="147509" y="312855"/>
                    <a:pt x="143699" y="308501"/>
                    <a:pt x="143699" y="292232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04C54A74-0184-4F84-95A2-B2A617429325}"/>
                </a:ext>
              </a:extLst>
            </p:cNvPr>
            <p:cNvSpPr/>
            <p:nvPr/>
          </p:nvSpPr>
          <p:spPr>
            <a:xfrm>
              <a:off x="3810132" y="1587848"/>
              <a:ext cx="338502" cy="354041"/>
            </a:xfrm>
            <a:custGeom>
              <a:avLst/>
              <a:gdLst>
                <a:gd name="connsiteX0" fmla="*/ 171157 w 338502"/>
                <a:gd name="connsiteY0" fmla="*/ 0 h 354041"/>
                <a:gd name="connsiteX1" fmla="*/ 0 w 338502"/>
                <a:gd name="connsiteY1" fmla="*/ 183613 h 354041"/>
                <a:gd name="connsiteX2" fmla="*/ 165532 w 338502"/>
                <a:gd name="connsiteY2" fmla="*/ 354041 h 354041"/>
                <a:gd name="connsiteX3" fmla="*/ 338503 w 338502"/>
                <a:gd name="connsiteY3" fmla="*/ 171094 h 354041"/>
                <a:gd name="connsiteX4" fmla="*/ 171157 w 338502"/>
                <a:gd name="connsiteY4" fmla="*/ 0 h 354041"/>
                <a:gd name="connsiteX5" fmla="*/ 175511 w 338502"/>
                <a:gd name="connsiteY5" fmla="*/ 314186 h 354041"/>
                <a:gd name="connsiteX6" fmla="*/ 90659 w 338502"/>
                <a:gd name="connsiteY6" fmla="*/ 171759 h 354041"/>
                <a:gd name="connsiteX7" fmla="*/ 166197 w 338502"/>
                <a:gd name="connsiteY7" fmla="*/ 38706 h 354041"/>
                <a:gd name="connsiteX8" fmla="*/ 246816 w 338502"/>
                <a:gd name="connsiteY8" fmla="*/ 183613 h 354041"/>
                <a:gd name="connsiteX9" fmla="*/ 175511 w 338502"/>
                <a:gd name="connsiteY9" fmla="*/ 314186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502" h="354041">
                  <a:moveTo>
                    <a:pt x="171157" y="0"/>
                  </a:moveTo>
                  <a:cubicBezTo>
                    <a:pt x="75599" y="0"/>
                    <a:pt x="0" y="92411"/>
                    <a:pt x="0" y="183613"/>
                  </a:cubicBezTo>
                  <a:cubicBezTo>
                    <a:pt x="0" y="302272"/>
                    <a:pt x="62475" y="354041"/>
                    <a:pt x="165532" y="354041"/>
                  </a:cubicBezTo>
                  <a:cubicBezTo>
                    <a:pt x="264234" y="354041"/>
                    <a:pt x="338503" y="261630"/>
                    <a:pt x="338503" y="171094"/>
                  </a:cubicBezTo>
                  <a:cubicBezTo>
                    <a:pt x="338563" y="54370"/>
                    <a:pt x="282318" y="0"/>
                    <a:pt x="171157" y="0"/>
                  </a:cubicBezTo>
                  <a:close/>
                  <a:moveTo>
                    <a:pt x="175511" y="314186"/>
                  </a:moveTo>
                  <a:cubicBezTo>
                    <a:pt x="108077" y="314186"/>
                    <a:pt x="90659" y="245482"/>
                    <a:pt x="90659" y="171759"/>
                  </a:cubicBezTo>
                  <a:cubicBezTo>
                    <a:pt x="90659" y="104325"/>
                    <a:pt x="107472" y="38706"/>
                    <a:pt x="166197" y="38706"/>
                  </a:cubicBezTo>
                  <a:cubicBezTo>
                    <a:pt x="232543" y="38706"/>
                    <a:pt x="246816" y="104930"/>
                    <a:pt x="246816" y="183613"/>
                  </a:cubicBezTo>
                  <a:cubicBezTo>
                    <a:pt x="246695" y="248567"/>
                    <a:pt x="235507" y="314186"/>
                    <a:pt x="175511" y="314186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FCE82134-0A32-4CBB-98CD-E93731C76CA5}"/>
                </a:ext>
              </a:extLst>
            </p:cNvPr>
            <p:cNvSpPr/>
            <p:nvPr/>
          </p:nvSpPr>
          <p:spPr>
            <a:xfrm>
              <a:off x="3416956" y="1396736"/>
              <a:ext cx="373520" cy="545213"/>
            </a:xfrm>
            <a:custGeom>
              <a:avLst/>
              <a:gdLst>
                <a:gd name="connsiteX0" fmla="*/ 317395 w 373520"/>
                <a:gd name="connsiteY0" fmla="*/ 493384 h 545213"/>
                <a:gd name="connsiteX1" fmla="*/ 314855 w 373520"/>
                <a:gd name="connsiteY1" fmla="*/ 365351 h 545213"/>
                <a:gd name="connsiteX2" fmla="*/ 314855 w 373520"/>
                <a:gd name="connsiteY2" fmla="*/ 31207 h 545213"/>
                <a:gd name="connsiteX3" fmla="*/ 282378 w 373520"/>
                <a:gd name="connsiteY3" fmla="*/ 0 h 545213"/>
                <a:gd name="connsiteX4" fmla="*/ 172426 w 373520"/>
                <a:gd name="connsiteY4" fmla="*/ 13184 h 545213"/>
                <a:gd name="connsiteX5" fmla="*/ 172426 w 373520"/>
                <a:gd name="connsiteY5" fmla="*/ 42516 h 545213"/>
                <a:gd name="connsiteX6" fmla="*/ 229882 w 373520"/>
                <a:gd name="connsiteY6" fmla="*/ 42516 h 545213"/>
                <a:gd name="connsiteX7" fmla="*/ 229882 w 373520"/>
                <a:gd name="connsiteY7" fmla="*/ 199216 h 545213"/>
                <a:gd name="connsiteX8" fmla="*/ 176176 w 373520"/>
                <a:gd name="connsiteY8" fmla="*/ 194862 h 545213"/>
                <a:gd name="connsiteX9" fmla="*/ 0 w 373520"/>
                <a:gd name="connsiteY9" fmla="*/ 382224 h 545213"/>
                <a:gd name="connsiteX10" fmla="*/ 134929 w 373520"/>
                <a:gd name="connsiteY10" fmla="*/ 545214 h 545213"/>
                <a:gd name="connsiteX11" fmla="*/ 229217 w 373520"/>
                <a:gd name="connsiteY11" fmla="*/ 497133 h 545213"/>
                <a:gd name="connsiteX12" fmla="*/ 269133 w 373520"/>
                <a:gd name="connsiteY12" fmla="*/ 545214 h 545213"/>
                <a:gd name="connsiteX13" fmla="*/ 373520 w 373520"/>
                <a:gd name="connsiteY13" fmla="*/ 514672 h 545213"/>
                <a:gd name="connsiteX14" fmla="*/ 369166 w 373520"/>
                <a:gd name="connsiteY14" fmla="*/ 493384 h 545213"/>
                <a:gd name="connsiteX15" fmla="*/ 317395 w 373520"/>
                <a:gd name="connsiteY15" fmla="*/ 493384 h 545213"/>
                <a:gd name="connsiteX16" fmla="*/ 229942 w 373520"/>
                <a:gd name="connsiteY16" fmla="*/ 364746 h 545213"/>
                <a:gd name="connsiteX17" fmla="*/ 228068 w 373520"/>
                <a:gd name="connsiteY17" fmla="*/ 470281 h 545213"/>
                <a:gd name="connsiteX18" fmla="*/ 170552 w 373520"/>
                <a:gd name="connsiteY18" fmla="*/ 483344 h 545213"/>
                <a:gd name="connsiteX19" fmla="*/ 90054 w 373520"/>
                <a:gd name="connsiteY19" fmla="*/ 369100 h 545213"/>
                <a:gd name="connsiteX20" fmla="*/ 178112 w 373520"/>
                <a:gd name="connsiteY20" fmla="*/ 232903 h 545213"/>
                <a:gd name="connsiteX21" fmla="*/ 229942 w 373520"/>
                <a:gd name="connsiteY21" fmla="*/ 242882 h 545213"/>
                <a:gd name="connsiteX22" fmla="*/ 229942 w 373520"/>
                <a:gd name="connsiteY22" fmla="*/ 364746 h 54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3520" h="545213">
                  <a:moveTo>
                    <a:pt x="317395" y="493384"/>
                  </a:moveTo>
                  <a:lnTo>
                    <a:pt x="314855" y="365351"/>
                  </a:lnTo>
                  <a:lnTo>
                    <a:pt x="314855" y="31207"/>
                  </a:lnTo>
                  <a:cubicBezTo>
                    <a:pt x="314855" y="6229"/>
                    <a:pt x="306086" y="0"/>
                    <a:pt x="282378" y="0"/>
                  </a:cubicBezTo>
                  <a:cubicBezTo>
                    <a:pt x="252985" y="0"/>
                    <a:pt x="206174" y="6229"/>
                    <a:pt x="172426" y="13184"/>
                  </a:cubicBezTo>
                  <a:lnTo>
                    <a:pt x="172426" y="42516"/>
                  </a:lnTo>
                  <a:lnTo>
                    <a:pt x="229882" y="42516"/>
                  </a:lnTo>
                  <a:lnTo>
                    <a:pt x="229882" y="199216"/>
                  </a:lnTo>
                  <a:cubicBezTo>
                    <a:pt x="214883" y="196676"/>
                    <a:pt x="199884" y="194862"/>
                    <a:pt x="176176" y="194862"/>
                  </a:cubicBezTo>
                  <a:cubicBezTo>
                    <a:pt x="78139" y="194862"/>
                    <a:pt x="0" y="267255"/>
                    <a:pt x="0" y="382224"/>
                  </a:cubicBezTo>
                  <a:cubicBezTo>
                    <a:pt x="0" y="513402"/>
                    <a:pt x="67495" y="545214"/>
                    <a:pt x="134929" y="545214"/>
                  </a:cubicBezTo>
                  <a:cubicBezTo>
                    <a:pt x="177386" y="545214"/>
                    <a:pt x="207988" y="520901"/>
                    <a:pt x="229217" y="497133"/>
                  </a:cubicBezTo>
                  <a:cubicBezTo>
                    <a:pt x="229217" y="520236"/>
                    <a:pt x="237381" y="545214"/>
                    <a:pt x="269133" y="545214"/>
                  </a:cubicBezTo>
                  <a:cubicBezTo>
                    <a:pt x="315400" y="545214"/>
                    <a:pt x="346667" y="529610"/>
                    <a:pt x="373520" y="514672"/>
                  </a:cubicBezTo>
                  <a:lnTo>
                    <a:pt x="369166" y="493384"/>
                  </a:lnTo>
                  <a:lnTo>
                    <a:pt x="317395" y="493384"/>
                  </a:lnTo>
                  <a:close/>
                  <a:moveTo>
                    <a:pt x="229942" y="364746"/>
                  </a:moveTo>
                  <a:lnTo>
                    <a:pt x="228068" y="470281"/>
                  </a:lnTo>
                  <a:cubicBezTo>
                    <a:pt x="212524" y="475301"/>
                    <a:pt x="193111" y="483344"/>
                    <a:pt x="170552" y="483344"/>
                  </a:cubicBezTo>
                  <a:cubicBezTo>
                    <a:pt x="123136" y="483344"/>
                    <a:pt x="90054" y="447783"/>
                    <a:pt x="90054" y="369100"/>
                  </a:cubicBezTo>
                  <a:cubicBezTo>
                    <a:pt x="90054" y="277234"/>
                    <a:pt x="113822" y="232903"/>
                    <a:pt x="178112" y="232903"/>
                  </a:cubicBezTo>
                  <a:cubicBezTo>
                    <a:pt x="202545" y="232903"/>
                    <a:pt x="216879" y="238588"/>
                    <a:pt x="229942" y="242882"/>
                  </a:cubicBezTo>
                  <a:lnTo>
                    <a:pt x="229942" y="36474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CB00B367-44E7-4283-B89B-9451314AB0EB}"/>
                </a:ext>
              </a:extLst>
            </p:cNvPr>
            <p:cNvSpPr/>
            <p:nvPr/>
          </p:nvSpPr>
          <p:spPr>
            <a:xfrm>
              <a:off x="2974610" y="1588453"/>
              <a:ext cx="413436" cy="353436"/>
            </a:xfrm>
            <a:custGeom>
              <a:avLst/>
              <a:gdLst>
                <a:gd name="connsiteX0" fmla="*/ 357856 w 413436"/>
                <a:gd name="connsiteY0" fmla="*/ 301667 h 353436"/>
                <a:gd name="connsiteX1" fmla="*/ 354711 w 413436"/>
                <a:gd name="connsiteY1" fmla="*/ 178049 h 353436"/>
                <a:gd name="connsiteX2" fmla="*/ 354711 w 413436"/>
                <a:gd name="connsiteY2" fmla="*/ 35017 h 353436"/>
                <a:gd name="connsiteX3" fmla="*/ 314795 w 413436"/>
                <a:gd name="connsiteY3" fmla="*/ 60 h 353436"/>
                <a:gd name="connsiteX4" fmla="*/ 217968 w 413436"/>
                <a:gd name="connsiteY4" fmla="*/ 16874 h 353436"/>
                <a:gd name="connsiteX5" fmla="*/ 217968 w 413436"/>
                <a:gd name="connsiteY5" fmla="*/ 41851 h 353436"/>
                <a:gd name="connsiteX6" fmla="*/ 269798 w 413436"/>
                <a:gd name="connsiteY6" fmla="*/ 41851 h 353436"/>
                <a:gd name="connsiteX7" fmla="*/ 269798 w 413436"/>
                <a:gd name="connsiteY7" fmla="*/ 177383 h 353436"/>
                <a:gd name="connsiteX8" fmla="*/ 267923 w 413436"/>
                <a:gd name="connsiteY8" fmla="*/ 271125 h 353436"/>
                <a:gd name="connsiteX9" fmla="*/ 186700 w 413436"/>
                <a:gd name="connsiteY9" fmla="*/ 291688 h 353436"/>
                <a:gd name="connsiteX10" fmla="*/ 138679 w 413436"/>
                <a:gd name="connsiteY10" fmla="*/ 225162 h 353436"/>
                <a:gd name="connsiteX11" fmla="*/ 138679 w 413436"/>
                <a:gd name="connsiteY11" fmla="*/ 34352 h 353436"/>
                <a:gd name="connsiteX12" fmla="*/ 99307 w 413436"/>
                <a:gd name="connsiteY12" fmla="*/ 0 h 353436"/>
                <a:gd name="connsiteX13" fmla="*/ 0 w 413436"/>
                <a:gd name="connsiteY13" fmla="*/ 16813 h 353436"/>
                <a:gd name="connsiteX14" fmla="*/ 0 w 413436"/>
                <a:gd name="connsiteY14" fmla="*/ 41791 h 353436"/>
                <a:gd name="connsiteX15" fmla="*/ 53101 w 413436"/>
                <a:gd name="connsiteY15" fmla="*/ 41791 h 353436"/>
                <a:gd name="connsiteX16" fmla="*/ 53101 w 413436"/>
                <a:gd name="connsiteY16" fmla="*/ 237862 h 353436"/>
                <a:gd name="connsiteX17" fmla="*/ 152408 w 413436"/>
                <a:gd name="connsiteY17" fmla="*/ 353436 h 353436"/>
                <a:gd name="connsiteX18" fmla="*/ 268528 w 413436"/>
                <a:gd name="connsiteY18" fmla="*/ 294772 h 353436"/>
                <a:gd name="connsiteX19" fmla="*/ 319754 w 413436"/>
                <a:gd name="connsiteY19" fmla="*/ 352166 h 353436"/>
                <a:gd name="connsiteX20" fmla="*/ 413437 w 413436"/>
                <a:gd name="connsiteY20" fmla="*/ 319085 h 353436"/>
                <a:gd name="connsiteX21" fmla="*/ 411562 w 413436"/>
                <a:gd name="connsiteY21" fmla="*/ 301606 h 353436"/>
                <a:gd name="connsiteX22" fmla="*/ 357856 w 413436"/>
                <a:gd name="connsiteY22" fmla="*/ 301606 h 35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3436" h="353436">
                  <a:moveTo>
                    <a:pt x="357856" y="301667"/>
                  </a:moveTo>
                  <a:lnTo>
                    <a:pt x="354711" y="178049"/>
                  </a:lnTo>
                  <a:lnTo>
                    <a:pt x="354711" y="35017"/>
                  </a:lnTo>
                  <a:cubicBezTo>
                    <a:pt x="354711" y="10644"/>
                    <a:pt x="339108" y="60"/>
                    <a:pt x="314795" y="60"/>
                  </a:cubicBezTo>
                  <a:cubicBezTo>
                    <a:pt x="284797" y="60"/>
                    <a:pt x="248510" y="8165"/>
                    <a:pt x="217968" y="16874"/>
                  </a:cubicBezTo>
                  <a:lnTo>
                    <a:pt x="217968" y="41851"/>
                  </a:lnTo>
                  <a:lnTo>
                    <a:pt x="269798" y="41851"/>
                  </a:lnTo>
                  <a:lnTo>
                    <a:pt x="269798" y="177383"/>
                  </a:lnTo>
                  <a:lnTo>
                    <a:pt x="267923" y="271125"/>
                  </a:lnTo>
                  <a:cubicBezTo>
                    <a:pt x="248510" y="279834"/>
                    <a:pt x="223048" y="291688"/>
                    <a:pt x="186700" y="291688"/>
                  </a:cubicBezTo>
                  <a:cubicBezTo>
                    <a:pt x="145090" y="291688"/>
                    <a:pt x="139344" y="261388"/>
                    <a:pt x="138679" y="225162"/>
                  </a:cubicBezTo>
                  <a:lnTo>
                    <a:pt x="138679" y="34352"/>
                  </a:lnTo>
                  <a:cubicBezTo>
                    <a:pt x="138679" y="10584"/>
                    <a:pt x="124950" y="0"/>
                    <a:pt x="99307" y="0"/>
                  </a:cubicBezTo>
                  <a:cubicBezTo>
                    <a:pt x="69975" y="0"/>
                    <a:pt x="34352" y="7499"/>
                    <a:pt x="0" y="16813"/>
                  </a:cubicBezTo>
                  <a:lnTo>
                    <a:pt x="0" y="41791"/>
                  </a:lnTo>
                  <a:lnTo>
                    <a:pt x="53101" y="41791"/>
                  </a:lnTo>
                  <a:lnTo>
                    <a:pt x="53101" y="237862"/>
                  </a:lnTo>
                  <a:cubicBezTo>
                    <a:pt x="53101" y="296587"/>
                    <a:pt x="59935" y="353436"/>
                    <a:pt x="152408" y="353436"/>
                  </a:cubicBezTo>
                  <a:cubicBezTo>
                    <a:pt x="201094" y="353436"/>
                    <a:pt x="236716" y="326040"/>
                    <a:pt x="268528" y="294772"/>
                  </a:cubicBezTo>
                  <a:cubicBezTo>
                    <a:pt x="269194" y="330999"/>
                    <a:pt x="286612" y="352166"/>
                    <a:pt x="319754" y="352166"/>
                  </a:cubicBezTo>
                  <a:cubicBezTo>
                    <a:pt x="360941" y="352166"/>
                    <a:pt x="390939" y="332874"/>
                    <a:pt x="413437" y="319085"/>
                  </a:cubicBezTo>
                  <a:lnTo>
                    <a:pt x="411562" y="301606"/>
                  </a:lnTo>
                  <a:lnTo>
                    <a:pt x="357856" y="301606"/>
                  </a:ln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E9572656-402E-46BF-8230-C5E5EAB338FB}"/>
                </a:ext>
              </a:extLst>
            </p:cNvPr>
            <p:cNvSpPr/>
            <p:nvPr/>
          </p:nvSpPr>
          <p:spPr>
            <a:xfrm>
              <a:off x="2256004" y="1595287"/>
              <a:ext cx="362442" cy="357851"/>
            </a:xfrm>
            <a:custGeom>
              <a:avLst/>
              <a:gdLst>
                <a:gd name="connsiteX0" fmla="*/ 254608 w 362442"/>
                <a:gd name="connsiteY0" fmla="*/ 21288 h 357851"/>
                <a:gd name="connsiteX1" fmla="*/ 283094 w 362442"/>
                <a:gd name="connsiteY1" fmla="*/ 30663 h 357851"/>
                <a:gd name="connsiteX2" fmla="*/ 296157 w 362442"/>
                <a:gd name="connsiteY2" fmla="*/ 50620 h 357851"/>
                <a:gd name="connsiteX3" fmla="*/ 292468 w 362442"/>
                <a:gd name="connsiteY3" fmla="*/ 69974 h 357851"/>
                <a:gd name="connsiteX4" fmla="*/ 211849 w 362442"/>
                <a:gd name="connsiteY4" fmla="*/ 274814 h 357851"/>
                <a:gd name="connsiteX5" fmla="*/ 124396 w 362442"/>
                <a:gd name="connsiteY5" fmla="*/ 0 h 357851"/>
                <a:gd name="connsiteX6" fmla="*/ 1320 w 362442"/>
                <a:gd name="connsiteY6" fmla="*/ 0 h 357851"/>
                <a:gd name="connsiteX7" fmla="*/ 1804 w 362442"/>
                <a:gd name="connsiteY7" fmla="*/ 24373 h 357851"/>
                <a:gd name="connsiteX8" fmla="*/ 51095 w 362442"/>
                <a:gd name="connsiteY8" fmla="*/ 59269 h 357851"/>
                <a:gd name="connsiteX9" fmla="*/ 156873 w 362442"/>
                <a:gd name="connsiteY9" fmla="*/ 357851 h 357851"/>
                <a:gd name="connsiteX10" fmla="*/ 219288 w 362442"/>
                <a:gd name="connsiteY10" fmla="*/ 339768 h 357851"/>
                <a:gd name="connsiteX11" fmla="*/ 328030 w 362442"/>
                <a:gd name="connsiteY11" fmla="*/ 79953 h 357851"/>
                <a:gd name="connsiteX12" fmla="*/ 361717 w 362442"/>
                <a:gd name="connsiteY12" fmla="*/ 15603 h 357851"/>
                <a:gd name="connsiteX13" fmla="*/ 362442 w 362442"/>
                <a:gd name="connsiteY13" fmla="*/ 0 h 357851"/>
                <a:gd name="connsiteX14" fmla="*/ 255273 w 362442"/>
                <a:gd name="connsiteY14" fmla="*/ 0 h 357851"/>
                <a:gd name="connsiteX15" fmla="*/ 254608 w 362442"/>
                <a:gd name="connsiteY15" fmla="*/ 21288 h 3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442" h="357851">
                  <a:moveTo>
                    <a:pt x="254608" y="21288"/>
                  </a:moveTo>
                  <a:lnTo>
                    <a:pt x="283094" y="30663"/>
                  </a:lnTo>
                  <a:cubicBezTo>
                    <a:pt x="291198" y="33807"/>
                    <a:pt x="296157" y="40037"/>
                    <a:pt x="296157" y="50620"/>
                  </a:cubicBezTo>
                  <a:cubicBezTo>
                    <a:pt x="296157" y="56245"/>
                    <a:pt x="294947" y="62474"/>
                    <a:pt x="292468" y="69974"/>
                  </a:cubicBezTo>
                  <a:lnTo>
                    <a:pt x="211849" y="274814"/>
                  </a:lnTo>
                  <a:lnTo>
                    <a:pt x="124396" y="0"/>
                  </a:lnTo>
                  <a:lnTo>
                    <a:pt x="1320" y="0"/>
                  </a:lnTo>
                  <a:cubicBezTo>
                    <a:pt x="-1159" y="7499"/>
                    <a:pt x="353" y="18506"/>
                    <a:pt x="1804" y="24373"/>
                  </a:cubicBezTo>
                  <a:cubicBezTo>
                    <a:pt x="31076" y="34473"/>
                    <a:pt x="40692" y="32054"/>
                    <a:pt x="51095" y="59269"/>
                  </a:cubicBezTo>
                  <a:lnTo>
                    <a:pt x="156873" y="357851"/>
                  </a:lnTo>
                  <a:lnTo>
                    <a:pt x="219288" y="339768"/>
                  </a:lnTo>
                  <a:lnTo>
                    <a:pt x="328030" y="79953"/>
                  </a:lnTo>
                  <a:cubicBezTo>
                    <a:pt x="339279" y="51286"/>
                    <a:pt x="351133" y="27518"/>
                    <a:pt x="361717" y="15603"/>
                  </a:cubicBezTo>
                  <a:cubicBezTo>
                    <a:pt x="362442" y="13124"/>
                    <a:pt x="362442" y="2480"/>
                    <a:pt x="362442" y="0"/>
                  </a:cubicBezTo>
                  <a:lnTo>
                    <a:pt x="255273" y="0"/>
                  </a:lnTo>
                  <a:cubicBezTo>
                    <a:pt x="253398" y="7560"/>
                    <a:pt x="253398" y="13184"/>
                    <a:pt x="254608" y="21288"/>
                  </a:cubicBezTo>
                  <a:close/>
                </a:path>
              </a:pathLst>
            </a:custGeom>
            <a:solidFill>
              <a:schemeClr val="bg1"/>
            </a:solidFill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" name="Espace réservé de la date 1">
            <a:extLst>
              <a:ext uri="{FF2B5EF4-FFF2-40B4-BE49-F238E27FC236}">
                <a16:creationId xmlns:a16="http://schemas.microsoft.com/office/drawing/2014/main" id="{28387CA4-B63C-462E-909C-90DCD9EA6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166" y="3125028"/>
            <a:ext cx="1561944" cy="230832"/>
          </a:xfrm>
          <a:prstGeom prst="rect">
            <a:avLst/>
          </a:prstGeom>
          <a:solidFill>
            <a:schemeClr val="accent4"/>
          </a:solidFill>
          <a:ln w="19050" cap="sq">
            <a:noFill/>
            <a:miter lim="800000"/>
          </a:ln>
        </p:spPr>
        <p:txBody>
          <a:bodyPr vert="horz" wrap="none" lIns="108000" tIns="45720" rIns="72000" bIns="45720" rtlCol="0" anchor="ctr">
            <a:spAutoFit/>
          </a:bodyPr>
          <a:lstStyle>
            <a:lvl1pPr algn="ctr">
              <a:defRPr sz="900" cap="all" spc="6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A5A938C-2DF6-40FE-A152-96664CE06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3338" y="3731413"/>
            <a:ext cx="10515600" cy="1421928"/>
          </a:xfrm>
        </p:spPr>
        <p:txBody>
          <a:bodyPr anchor="b">
            <a:spAutoFit/>
          </a:bodyPr>
          <a:lstStyle>
            <a:lvl1pPr algn="ctr">
              <a:lnSpc>
                <a:spcPct val="80000"/>
              </a:lnSpc>
              <a:defRPr sz="5400" cap="none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</a:t>
            </a:r>
            <a:br>
              <a:rPr lang="fr-FR"/>
            </a:br>
            <a:r>
              <a:rPr lang="fr-FR"/>
              <a:t>présentation</a:t>
            </a:r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76166621-145F-4BD6-9E58-679F247784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3339" y="5444562"/>
            <a:ext cx="10515599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 cap="all" spc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7116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plat B">
    <p:bg>
      <p:bgPr>
        <a:solidFill>
          <a:srgbClr val="DACEBA">
            <a:alpha val="5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9231389F-9F3F-416B-9495-C3EAB576FBA0}"/>
              </a:ext>
            </a:extLst>
          </p:cNvPr>
          <p:cNvSpPr/>
          <p:nvPr userDrawn="1"/>
        </p:nvSpPr>
        <p:spPr>
          <a:xfrm>
            <a:off x="762000" y="2"/>
            <a:ext cx="10668000" cy="6857998"/>
          </a:xfrm>
          <a:custGeom>
            <a:avLst/>
            <a:gdLst>
              <a:gd name="connsiteX0" fmla="*/ 1138593 w 10668000"/>
              <a:gd name="connsiteY0" fmla="*/ 0 h 6857998"/>
              <a:gd name="connsiteX1" fmla="*/ 9529407 w 10668000"/>
              <a:gd name="connsiteY1" fmla="*/ 0 h 6857998"/>
              <a:gd name="connsiteX2" fmla="*/ 9608323 w 10668000"/>
              <a:gd name="connsiteY2" fmla="*/ 100422 h 6857998"/>
              <a:gd name="connsiteX3" fmla="*/ 10668000 w 10668000"/>
              <a:gd name="connsiteY3" fmla="*/ 3291839 h 6857998"/>
              <a:gd name="connsiteX4" fmla="*/ 9449974 w 10668000"/>
              <a:gd name="connsiteY4" fmla="*/ 6684759 h 6857998"/>
              <a:gd name="connsiteX5" fmla="*/ 9299910 w 10668000"/>
              <a:gd name="connsiteY5" fmla="*/ 6857998 h 6857998"/>
              <a:gd name="connsiteX6" fmla="*/ 1368090 w 10668000"/>
              <a:gd name="connsiteY6" fmla="*/ 6857998 h 6857998"/>
              <a:gd name="connsiteX7" fmla="*/ 1218027 w 10668000"/>
              <a:gd name="connsiteY7" fmla="*/ 6684759 h 6857998"/>
              <a:gd name="connsiteX8" fmla="*/ 0 w 10668000"/>
              <a:gd name="connsiteY8" fmla="*/ 3291839 h 6857998"/>
              <a:gd name="connsiteX9" fmla="*/ 1059677 w 10668000"/>
              <a:gd name="connsiteY9" fmla="*/ 100422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668000" h="6857998">
                <a:moveTo>
                  <a:pt x="1138593" y="0"/>
                </a:moveTo>
                <a:lnTo>
                  <a:pt x="9529407" y="0"/>
                </a:lnTo>
                <a:lnTo>
                  <a:pt x="9608323" y="100422"/>
                </a:lnTo>
                <a:cubicBezTo>
                  <a:pt x="10273868" y="990360"/>
                  <a:pt x="10668000" y="2095073"/>
                  <a:pt x="10668000" y="3291839"/>
                </a:cubicBezTo>
                <a:cubicBezTo>
                  <a:pt x="10668000" y="4580665"/>
                  <a:pt x="10210900" y="5762729"/>
                  <a:pt x="9449974" y="6684759"/>
                </a:cubicBezTo>
                <a:lnTo>
                  <a:pt x="9299910" y="6857998"/>
                </a:lnTo>
                <a:lnTo>
                  <a:pt x="1368090" y="6857998"/>
                </a:lnTo>
                <a:lnTo>
                  <a:pt x="1218027" y="6684759"/>
                </a:lnTo>
                <a:cubicBezTo>
                  <a:pt x="457100" y="5762729"/>
                  <a:pt x="0" y="4580665"/>
                  <a:pt x="0" y="3291839"/>
                </a:cubicBezTo>
                <a:cubicBezTo>
                  <a:pt x="0" y="2095073"/>
                  <a:pt x="394132" y="990360"/>
                  <a:pt x="1059677" y="100422"/>
                </a:cubicBezTo>
                <a:close/>
              </a:path>
            </a:pathLst>
          </a:custGeom>
          <a:solidFill>
            <a:srgbClr val="DACE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46" name="Cadre 45">
            <a:extLst>
              <a:ext uri="{FF2B5EF4-FFF2-40B4-BE49-F238E27FC236}">
                <a16:creationId xmlns:a16="http://schemas.microsoft.com/office/drawing/2014/main" id="{17C55E6C-E57F-4377-A05B-DF446746152E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44" name="Espace réservé de la date 1">
            <a:extLst>
              <a:ext uri="{FF2B5EF4-FFF2-40B4-BE49-F238E27FC236}">
                <a16:creationId xmlns:a16="http://schemas.microsoft.com/office/drawing/2014/main" id="{28387CA4-B63C-462E-909C-90DCD9EA6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166" y="3125028"/>
            <a:ext cx="1561944" cy="230832"/>
          </a:xfrm>
          <a:prstGeom prst="rect">
            <a:avLst/>
          </a:prstGeom>
          <a:solidFill>
            <a:schemeClr val="accent4"/>
          </a:solidFill>
          <a:ln w="19050" cap="sq">
            <a:noFill/>
            <a:miter lim="800000"/>
          </a:ln>
        </p:spPr>
        <p:txBody>
          <a:bodyPr vert="horz" wrap="none" lIns="108000" tIns="45720" rIns="72000" bIns="45720" rtlCol="0" anchor="ctr">
            <a:spAutoFit/>
          </a:bodyPr>
          <a:lstStyle>
            <a:lvl1pPr algn="ctr">
              <a:defRPr sz="900" cap="all" spc="6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A5A938C-2DF6-40FE-A152-96664CE06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3338" y="3731413"/>
            <a:ext cx="10515600" cy="1421928"/>
          </a:xfrm>
        </p:spPr>
        <p:txBody>
          <a:bodyPr anchor="b">
            <a:spAutoFit/>
          </a:bodyPr>
          <a:lstStyle>
            <a:lvl1pPr algn="ctr">
              <a:lnSpc>
                <a:spcPct val="80000"/>
              </a:lnSpc>
              <a:defRPr sz="5400" cap="none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</a:t>
            </a:r>
            <a:br>
              <a:rPr lang="fr-FR"/>
            </a:br>
            <a:r>
              <a:rPr lang="fr-FR"/>
              <a:t>présentation</a:t>
            </a:r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76166621-145F-4BD6-9E58-679F247784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3339" y="5444562"/>
            <a:ext cx="10515599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 cap="all" spc="6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F0A28FD5-B4AC-4EFF-9AB5-3AB3CA54CE86}"/>
              </a:ext>
            </a:extLst>
          </p:cNvPr>
          <p:cNvGrpSpPr/>
          <p:nvPr userDrawn="1"/>
        </p:nvGrpSpPr>
        <p:grpSpPr>
          <a:xfrm>
            <a:off x="4210224" y="1157423"/>
            <a:ext cx="3771552" cy="970982"/>
            <a:chOff x="1291590" y="1157423"/>
            <a:chExt cx="3771552" cy="970982"/>
          </a:xfrm>
          <a:solidFill>
            <a:schemeClr val="accent2"/>
          </a:solidFill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F7C00298-7966-4283-9709-0ED51F3079A9}"/>
                </a:ext>
              </a:extLst>
            </p:cNvPr>
            <p:cNvSpPr/>
            <p:nvPr/>
          </p:nvSpPr>
          <p:spPr>
            <a:xfrm>
              <a:off x="1291590" y="1157423"/>
              <a:ext cx="830865" cy="970982"/>
            </a:xfrm>
            <a:custGeom>
              <a:avLst/>
              <a:gdLst>
                <a:gd name="connsiteX0" fmla="*/ 824455 w 830865"/>
                <a:gd name="connsiteY0" fmla="*/ 115635 h 970982"/>
                <a:gd name="connsiteX1" fmla="*/ 797118 w 830865"/>
                <a:gd name="connsiteY1" fmla="*/ 30602 h 970982"/>
                <a:gd name="connsiteX2" fmla="*/ 746557 w 830865"/>
                <a:gd name="connsiteY2" fmla="*/ 0 h 970982"/>
                <a:gd name="connsiteX3" fmla="*/ 644528 w 830865"/>
                <a:gd name="connsiteY3" fmla="*/ 74026 h 970982"/>
                <a:gd name="connsiteX4" fmla="*/ 432004 w 830865"/>
                <a:gd name="connsiteY4" fmla="*/ 499250 h 970982"/>
                <a:gd name="connsiteX5" fmla="*/ 228612 w 830865"/>
                <a:gd name="connsiteY5" fmla="*/ 373273 h 970982"/>
                <a:gd name="connsiteX6" fmla="*/ 147146 w 830865"/>
                <a:gd name="connsiteY6" fmla="*/ 389058 h 970982"/>
                <a:gd name="connsiteX7" fmla="*/ 0 w 830865"/>
                <a:gd name="connsiteY7" fmla="*/ 601640 h 970982"/>
                <a:gd name="connsiteX8" fmla="*/ 194502 w 830865"/>
                <a:gd name="connsiteY8" fmla="*/ 816883 h 970982"/>
                <a:gd name="connsiteX9" fmla="*/ 197949 w 830865"/>
                <a:gd name="connsiteY9" fmla="*/ 816944 h 970982"/>
                <a:gd name="connsiteX10" fmla="*/ 283406 w 830865"/>
                <a:gd name="connsiteY10" fmla="*/ 795171 h 970982"/>
                <a:gd name="connsiteX11" fmla="*/ 338563 w 830865"/>
                <a:gd name="connsiteY11" fmla="*/ 749329 h 970982"/>
                <a:gd name="connsiteX12" fmla="*/ 375456 w 830865"/>
                <a:gd name="connsiteY12" fmla="*/ 693144 h 970982"/>
                <a:gd name="connsiteX13" fmla="*/ 492907 w 830865"/>
                <a:gd name="connsiteY13" fmla="*/ 915463 h 970982"/>
                <a:gd name="connsiteX14" fmla="*/ 582598 w 830865"/>
                <a:gd name="connsiteY14" fmla="*/ 970983 h 970982"/>
                <a:gd name="connsiteX15" fmla="*/ 582658 w 830865"/>
                <a:gd name="connsiteY15" fmla="*/ 970983 h 970982"/>
                <a:gd name="connsiteX16" fmla="*/ 661886 w 830865"/>
                <a:gd name="connsiteY16" fmla="*/ 917096 h 970982"/>
                <a:gd name="connsiteX17" fmla="*/ 799779 w 830865"/>
                <a:gd name="connsiteY17" fmla="*/ 531243 h 970982"/>
                <a:gd name="connsiteX18" fmla="*/ 830865 w 830865"/>
                <a:gd name="connsiteY18" fmla="*/ 227823 h 970982"/>
                <a:gd name="connsiteX19" fmla="*/ 824455 w 830865"/>
                <a:gd name="connsiteY19" fmla="*/ 115635 h 970982"/>
                <a:gd name="connsiteX20" fmla="*/ 247905 w 830865"/>
                <a:gd name="connsiteY20" fmla="*/ 773339 h 970982"/>
                <a:gd name="connsiteX21" fmla="*/ 226979 w 830865"/>
                <a:gd name="connsiteY21" fmla="*/ 775516 h 970982"/>
                <a:gd name="connsiteX22" fmla="*/ 100517 w 830865"/>
                <a:gd name="connsiteY22" fmla="*/ 667925 h 970982"/>
                <a:gd name="connsiteX23" fmla="*/ 98037 w 830865"/>
                <a:gd name="connsiteY23" fmla="*/ 640407 h 970982"/>
                <a:gd name="connsiteX24" fmla="*/ 187063 w 830865"/>
                <a:gd name="connsiteY24" fmla="*/ 514007 h 970982"/>
                <a:gd name="connsiteX25" fmla="*/ 217000 w 830865"/>
                <a:gd name="connsiteY25" fmla="*/ 509229 h 970982"/>
                <a:gd name="connsiteX26" fmla="*/ 359671 w 830865"/>
                <a:gd name="connsiteY26" fmla="*/ 654982 h 970982"/>
                <a:gd name="connsiteX27" fmla="*/ 247905 w 830865"/>
                <a:gd name="connsiteY27" fmla="*/ 773339 h 970982"/>
                <a:gd name="connsiteX28" fmla="*/ 727022 w 830865"/>
                <a:gd name="connsiteY28" fmla="*/ 620268 h 970982"/>
                <a:gd name="connsiteX29" fmla="*/ 622574 w 830865"/>
                <a:gd name="connsiteY29" fmla="*/ 688366 h 970982"/>
                <a:gd name="connsiteX30" fmla="*/ 615982 w 830865"/>
                <a:gd name="connsiteY30" fmla="*/ 688064 h 970982"/>
                <a:gd name="connsiteX31" fmla="*/ 451841 w 830865"/>
                <a:gd name="connsiteY31" fmla="*/ 533541 h 970982"/>
                <a:gd name="connsiteX32" fmla="*/ 537359 w 830865"/>
                <a:gd name="connsiteY32" fmla="*/ 364444 h 970982"/>
                <a:gd name="connsiteX33" fmla="*/ 607636 w 830865"/>
                <a:gd name="connsiteY33" fmla="*/ 287454 h 970982"/>
                <a:gd name="connsiteX34" fmla="*/ 665091 w 830865"/>
                <a:gd name="connsiteY34" fmla="*/ 261811 h 970982"/>
                <a:gd name="connsiteX35" fmla="*/ 696601 w 830865"/>
                <a:gd name="connsiteY35" fmla="*/ 262658 h 970982"/>
                <a:gd name="connsiteX36" fmla="*/ 753815 w 830865"/>
                <a:gd name="connsiteY36" fmla="*/ 305537 h 970982"/>
                <a:gd name="connsiteX37" fmla="*/ 780849 w 830865"/>
                <a:gd name="connsiteY37" fmla="*/ 404299 h 970982"/>
                <a:gd name="connsiteX38" fmla="*/ 727022 w 830865"/>
                <a:gd name="connsiteY38" fmla="*/ 620268 h 97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30865" h="970982">
                  <a:moveTo>
                    <a:pt x="824455" y="115635"/>
                  </a:moveTo>
                  <a:cubicBezTo>
                    <a:pt x="819616" y="78924"/>
                    <a:pt x="810302" y="50318"/>
                    <a:pt x="797118" y="30602"/>
                  </a:cubicBezTo>
                  <a:cubicBezTo>
                    <a:pt x="783994" y="10886"/>
                    <a:pt x="768451" y="0"/>
                    <a:pt x="746557" y="0"/>
                  </a:cubicBezTo>
                  <a:cubicBezTo>
                    <a:pt x="716136" y="0"/>
                    <a:pt x="683114" y="21047"/>
                    <a:pt x="644528" y="74026"/>
                  </a:cubicBezTo>
                  <a:cubicBezTo>
                    <a:pt x="582779" y="158938"/>
                    <a:pt x="510446" y="313158"/>
                    <a:pt x="432004" y="499250"/>
                  </a:cubicBezTo>
                  <a:cubicBezTo>
                    <a:pt x="400434" y="448146"/>
                    <a:pt x="331790" y="373334"/>
                    <a:pt x="228612" y="373273"/>
                  </a:cubicBezTo>
                  <a:cubicBezTo>
                    <a:pt x="203150" y="373273"/>
                    <a:pt x="175934" y="378051"/>
                    <a:pt x="147146" y="389058"/>
                  </a:cubicBezTo>
                  <a:cubicBezTo>
                    <a:pt x="36892" y="431151"/>
                    <a:pt x="-60" y="533058"/>
                    <a:pt x="0" y="601640"/>
                  </a:cubicBezTo>
                  <a:cubicBezTo>
                    <a:pt x="0" y="718243"/>
                    <a:pt x="88300" y="814767"/>
                    <a:pt x="194502" y="816883"/>
                  </a:cubicBezTo>
                  <a:cubicBezTo>
                    <a:pt x="195651" y="816944"/>
                    <a:pt x="196800" y="816944"/>
                    <a:pt x="197949" y="816944"/>
                  </a:cubicBezTo>
                  <a:cubicBezTo>
                    <a:pt x="226677" y="816944"/>
                    <a:pt x="258428" y="808719"/>
                    <a:pt x="283406" y="795171"/>
                  </a:cubicBezTo>
                  <a:cubicBezTo>
                    <a:pt x="305481" y="783197"/>
                    <a:pt x="324109" y="766988"/>
                    <a:pt x="338563" y="749329"/>
                  </a:cubicBezTo>
                  <a:cubicBezTo>
                    <a:pt x="355740" y="728403"/>
                    <a:pt x="367654" y="708022"/>
                    <a:pt x="375456" y="693144"/>
                  </a:cubicBezTo>
                  <a:cubicBezTo>
                    <a:pt x="418820" y="797107"/>
                    <a:pt x="461155" y="875487"/>
                    <a:pt x="492907" y="915463"/>
                  </a:cubicBezTo>
                  <a:cubicBezTo>
                    <a:pt x="521574" y="951327"/>
                    <a:pt x="552237" y="970983"/>
                    <a:pt x="582598" y="970983"/>
                  </a:cubicBezTo>
                  <a:lnTo>
                    <a:pt x="582658" y="970983"/>
                  </a:lnTo>
                  <a:cubicBezTo>
                    <a:pt x="611386" y="970983"/>
                    <a:pt x="638722" y="953081"/>
                    <a:pt x="661886" y="917096"/>
                  </a:cubicBezTo>
                  <a:cubicBezTo>
                    <a:pt x="724845" y="819665"/>
                    <a:pt x="768330" y="672521"/>
                    <a:pt x="799779" y="531243"/>
                  </a:cubicBezTo>
                  <a:cubicBezTo>
                    <a:pt x="818346" y="447662"/>
                    <a:pt x="830865" y="330515"/>
                    <a:pt x="830865" y="227823"/>
                  </a:cubicBezTo>
                  <a:cubicBezTo>
                    <a:pt x="830805" y="187181"/>
                    <a:pt x="828809" y="148777"/>
                    <a:pt x="824455" y="115635"/>
                  </a:cubicBezTo>
                  <a:close/>
                  <a:moveTo>
                    <a:pt x="247905" y="773339"/>
                  </a:moveTo>
                  <a:cubicBezTo>
                    <a:pt x="241313" y="774730"/>
                    <a:pt x="234297" y="775516"/>
                    <a:pt x="226979" y="775516"/>
                  </a:cubicBezTo>
                  <a:cubicBezTo>
                    <a:pt x="176539" y="775455"/>
                    <a:pt x="113883" y="740438"/>
                    <a:pt x="100517" y="667925"/>
                  </a:cubicBezTo>
                  <a:cubicBezTo>
                    <a:pt x="98884" y="658974"/>
                    <a:pt x="98037" y="649721"/>
                    <a:pt x="98037" y="640407"/>
                  </a:cubicBezTo>
                  <a:cubicBezTo>
                    <a:pt x="98098" y="588093"/>
                    <a:pt x="124648" y="533965"/>
                    <a:pt x="187063" y="514007"/>
                  </a:cubicBezTo>
                  <a:cubicBezTo>
                    <a:pt x="197284" y="510741"/>
                    <a:pt x="207263" y="509229"/>
                    <a:pt x="217000" y="509229"/>
                  </a:cubicBezTo>
                  <a:cubicBezTo>
                    <a:pt x="274213" y="509229"/>
                    <a:pt x="327072" y="565414"/>
                    <a:pt x="359671" y="654982"/>
                  </a:cubicBezTo>
                  <a:cubicBezTo>
                    <a:pt x="343583" y="693689"/>
                    <a:pt x="305058" y="761183"/>
                    <a:pt x="247905" y="773339"/>
                  </a:cubicBezTo>
                  <a:close/>
                  <a:moveTo>
                    <a:pt x="727022" y="620268"/>
                  </a:moveTo>
                  <a:cubicBezTo>
                    <a:pt x="698537" y="663207"/>
                    <a:pt x="656624" y="688366"/>
                    <a:pt x="622574" y="688366"/>
                  </a:cubicBezTo>
                  <a:cubicBezTo>
                    <a:pt x="620397" y="688366"/>
                    <a:pt x="618220" y="688306"/>
                    <a:pt x="615982" y="688064"/>
                  </a:cubicBezTo>
                  <a:cubicBezTo>
                    <a:pt x="534214" y="680807"/>
                    <a:pt x="472949" y="571099"/>
                    <a:pt x="451841" y="533541"/>
                  </a:cubicBezTo>
                  <a:cubicBezTo>
                    <a:pt x="482867" y="456008"/>
                    <a:pt x="508268" y="406899"/>
                    <a:pt x="537359" y="364444"/>
                  </a:cubicBezTo>
                  <a:cubicBezTo>
                    <a:pt x="562035" y="328398"/>
                    <a:pt x="586166" y="303421"/>
                    <a:pt x="607636" y="287454"/>
                  </a:cubicBezTo>
                  <a:cubicBezTo>
                    <a:pt x="628380" y="272032"/>
                    <a:pt x="647492" y="264231"/>
                    <a:pt x="665091" y="261811"/>
                  </a:cubicBezTo>
                  <a:cubicBezTo>
                    <a:pt x="676522" y="260179"/>
                    <a:pt x="687106" y="260541"/>
                    <a:pt x="696601" y="262658"/>
                  </a:cubicBezTo>
                  <a:cubicBezTo>
                    <a:pt x="721277" y="268222"/>
                    <a:pt x="740993" y="285761"/>
                    <a:pt x="753815" y="305537"/>
                  </a:cubicBezTo>
                  <a:cubicBezTo>
                    <a:pt x="771354" y="332571"/>
                    <a:pt x="780849" y="368737"/>
                    <a:pt x="780849" y="404299"/>
                  </a:cubicBezTo>
                  <a:cubicBezTo>
                    <a:pt x="780909" y="501064"/>
                    <a:pt x="758109" y="573457"/>
                    <a:pt x="727022" y="620268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DCF1E7EE-53B1-4297-9A1A-5AF460F21FBC}"/>
                </a:ext>
              </a:extLst>
            </p:cNvPr>
            <p:cNvSpPr/>
            <p:nvPr/>
          </p:nvSpPr>
          <p:spPr>
            <a:xfrm>
              <a:off x="2631027" y="1587848"/>
              <a:ext cx="339168" cy="354041"/>
            </a:xfrm>
            <a:custGeom>
              <a:avLst/>
              <a:gdLst>
                <a:gd name="connsiteX0" fmla="*/ 284858 w 339168"/>
                <a:gd name="connsiteY0" fmla="*/ 302272 h 354041"/>
                <a:gd name="connsiteX1" fmla="*/ 280503 w 339168"/>
                <a:gd name="connsiteY1" fmla="*/ 177383 h 354041"/>
                <a:gd name="connsiteX2" fmla="*/ 280503 w 339168"/>
                <a:gd name="connsiteY2" fmla="*/ 96766 h 354041"/>
                <a:gd name="connsiteX3" fmla="*/ 157428 w 339168"/>
                <a:gd name="connsiteY3" fmla="*/ 0 h 354041"/>
                <a:gd name="connsiteX4" fmla="*/ 24434 w 339168"/>
                <a:gd name="connsiteY4" fmla="*/ 46206 h 354041"/>
                <a:gd name="connsiteX5" fmla="*/ 33808 w 339168"/>
                <a:gd name="connsiteY5" fmla="*/ 70578 h 354041"/>
                <a:gd name="connsiteX6" fmla="*/ 119386 w 339168"/>
                <a:gd name="connsiteY6" fmla="*/ 57515 h 354041"/>
                <a:gd name="connsiteX7" fmla="*/ 196195 w 339168"/>
                <a:gd name="connsiteY7" fmla="*/ 116119 h 354041"/>
                <a:gd name="connsiteX8" fmla="*/ 196195 w 339168"/>
                <a:gd name="connsiteY8" fmla="*/ 156942 h 354041"/>
                <a:gd name="connsiteX9" fmla="*/ 141159 w 339168"/>
                <a:gd name="connsiteY9" fmla="*/ 163171 h 354041"/>
                <a:gd name="connsiteX10" fmla="*/ 0 w 339168"/>
                <a:gd name="connsiteY10" fmla="*/ 274572 h 354041"/>
                <a:gd name="connsiteX11" fmla="*/ 84973 w 339168"/>
                <a:gd name="connsiteY11" fmla="*/ 354041 h 354041"/>
                <a:gd name="connsiteX12" fmla="*/ 197344 w 339168"/>
                <a:gd name="connsiteY12" fmla="*/ 295317 h 354041"/>
                <a:gd name="connsiteX13" fmla="*/ 257400 w 339168"/>
                <a:gd name="connsiteY13" fmla="*/ 353436 h 354041"/>
                <a:gd name="connsiteX14" fmla="*/ 339168 w 339168"/>
                <a:gd name="connsiteY14" fmla="*/ 319085 h 354041"/>
                <a:gd name="connsiteX15" fmla="*/ 336689 w 339168"/>
                <a:gd name="connsiteY15" fmla="*/ 302211 h 354041"/>
                <a:gd name="connsiteX16" fmla="*/ 284858 w 339168"/>
                <a:gd name="connsiteY16" fmla="*/ 302211 h 354041"/>
                <a:gd name="connsiteX17" fmla="*/ 196195 w 339168"/>
                <a:gd name="connsiteY17" fmla="*/ 276689 h 354041"/>
                <a:gd name="connsiteX18" fmla="*/ 128095 w 339168"/>
                <a:gd name="connsiteY18" fmla="*/ 294167 h 354041"/>
                <a:gd name="connsiteX19" fmla="*/ 85639 w 339168"/>
                <a:gd name="connsiteY19" fmla="*/ 250260 h 354041"/>
                <a:gd name="connsiteX20" fmla="*/ 157428 w 339168"/>
                <a:gd name="connsiteY20" fmla="*/ 191959 h 354041"/>
                <a:gd name="connsiteX21" fmla="*/ 196195 w 339168"/>
                <a:gd name="connsiteY21" fmla="*/ 185064 h 354041"/>
                <a:gd name="connsiteX22" fmla="*/ 196195 w 339168"/>
                <a:gd name="connsiteY22" fmla="*/ 276689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9168" h="354041">
                  <a:moveTo>
                    <a:pt x="284858" y="302272"/>
                  </a:moveTo>
                  <a:lnTo>
                    <a:pt x="280503" y="177383"/>
                  </a:lnTo>
                  <a:lnTo>
                    <a:pt x="280503" y="96766"/>
                  </a:lnTo>
                  <a:cubicBezTo>
                    <a:pt x="280503" y="11249"/>
                    <a:pt x="208654" y="0"/>
                    <a:pt x="157428" y="0"/>
                  </a:cubicBezTo>
                  <a:cubicBezTo>
                    <a:pt x="103722" y="0"/>
                    <a:pt x="49956" y="28123"/>
                    <a:pt x="24434" y="46206"/>
                  </a:cubicBezTo>
                  <a:lnTo>
                    <a:pt x="33808" y="70578"/>
                  </a:lnTo>
                  <a:cubicBezTo>
                    <a:pt x="66285" y="61809"/>
                    <a:pt x="96888" y="57515"/>
                    <a:pt x="119386" y="57515"/>
                  </a:cubicBezTo>
                  <a:cubicBezTo>
                    <a:pt x="170612" y="57515"/>
                    <a:pt x="196195" y="73663"/>
                    <a:pt x="196195" y="116119"/>
                  </a:cubicBezTo>
                  <a:lnTo>
                    <a:pt x="196195" y="156942"/>
                  </a:lnTo>
                  <a:lnTo>
                    <a:pt x="141159" y="163171"/>
                  </a:lnTo>
                  <a:cubicBezTo>
                    <a:pt x="73785" y="171275"/>
                    <a:pt x="0" y="192443"/>
                    <a:pt x="0" y="274572"/>
                  </a:cubicBezTo>
                  <a:cubicBezTo>
                    <a:pt x="0" y="318298"/>
                    <a:pt x="32538" y="354041"/>
                    <a:pt x="84973" y="354041"/>
                  </a:cubicBezTo>
                  <a:cubicBezTo>
                    <a:pt x="139284" y="354041"/>
                    <a:pt x="174906" y="322834"/>
                    <a:pt x="197344" y="295317"/>
                  </a:cubicBezTo>
                  <a:cubicBezTo>
                    <a:pt x="199824" y="331543"/>
                    <a:pt x="211738" y="353436"/>
                    <a:pt x="257400" y="353436"/>
                  </a:cubicBezTo>
                  <a:cubicBezTo>
                    <a:pt x="281713" y="353436"/>
                    <a:pt x="319815" y="337168"/>
                    <a:pt x="339168" y="319085"/>
                  </a:cubicBezTo>
                  <a:lnTo>
                    <a:pt x="336689" y="302211"/>
                  </a:lnTo>
                  <a:lnTo>
                    <a:pt x="284858" y="302211"/>
                  </a:lnTo>
                  <a:close/>
                  <a:moveTo>
                    <a:pt x="196195" y="276689"/>
                  </a:moveTo>
                  <a:cubicBezTo>
                    <a:pt x="176176" y="286063"/>
                    <a:pt x="154343" y="294167"/>
                    <a:pt x="128095" y="294167"/>
                  </a:cubicBezTo>
                  <a:cubicBezTo>
                    <a:pt x="101847" y="294167"/>
                    <a:pt x="85639" y="276750"/>
                    <a:pt x="85639" y="250260"/>
                  </a:cubicBezTo>
                  <a:cubicBezTo>
                    <a:pt x="85639" y="216574"/>
                    <a:pt x="118056" y="198128"/>
                    <a:pt x="157428" y="191959"/>
                  </a:cubicBezTo>
                  <a:lnTo>
                    <a:pt x="196195" y="185064"/>
                  </a:lnTo>
                  <a:lnTo>
                    <a:pt x="196195" y="276689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AC47B6C7-ECD7-4831-99C0-8ED32D45C87C}"/>
                </a:ext>
              </a:extLst>
            </p:cNvPr>
            <p:cNvSpPr/>
            <p:nvPr/>
          </p:nvSpPr>
          <p:spPr>
            <a:xfrm>
              <a:off x="4433371" y="1587304"/>
              <a:ext cx="259577" cy="354766"/>
            </a:xfrm>
            <a:custGeom>
              <a:avLst/>
              <a:gdLst>
                <a:gd name="connsiteX0" fmla="*/ 73301 w 259577"/>
                <a:gd name="connsiteY0" fmla="*/ 75477 h 354766"/>
                <a:gd name="connsiteX1" fmla="*/ 125737 w 259577"/>
                <a:gd name="connsiteY1" fmla="*/ 35501 h 354766"/>
                <a:gd name="connsiteX2" fmla="*/ 209319 w 259577"/>
                <a:gd name="connsiteY2" fmla="*/ 107349 h 354766"/>
                <a:gd name="connsiteX3" fmla="*/ 229943 w 259577"/>
                <a:gd name="connsiteY3" fmla="*/ 109224 h 354766"/>
                <a:gd name="connsiteX4" fmla="*/ 240526 w 259577"/>
                <a:gd name="connsiteY4" fmla="*/ 26187 h 354766"/>
                <a:gd name="connsiteX5" fmla="*/ 132027 w 259577"/>
                <a:gd name="connsiteY5" fmla="*/ 0 h 354766"/>
                <a:gd name="connsiteX6" fmla="*/ 303 w 259577"/>
                <a:gd name="connsiteY6" fmla="*/ 106805 h 354766"/>
                <a:gd name="connsiteX7" fmla="*/ 176539 w 259577"/>
                <a:gd name="connsiteY7" fmla="*/ 273544 h 354766"/>
                <a:gd name="connsiteX8" fmla="*/ 118237 w 259577"/>
                <a:gd name="connsiteY8" fmla="*/ 318540 h 354766"/>
                <a:gd name="connsiteX9" fmla="*/ 29937 w 259577"/>
                <a:gd name="connsiteY9" fmla="*/ 236108 h 354766"/>
                <a:gd name="connsiteX10" fmla="*/ 5625 w 259577"/>
                <a:gd name="connsiteY10" fmla="*/ 235503 h 354766"/>
                <a:gd name="connsiteX11" fmla="*/ 0 w 259577"/>
                <a:gd name="connsiteY11" fmla="*/ 327975 h 354766"/>
                <a:gd name="connsiteX12" fmla="*/ 117028 w 259577"/>
                <a:gd name="connsiteY12" fmla="*/ 354767 h 354766"/>
                <a:gd name="connsiteX13" fmla="*/ 259578 w 259577"/>
                <a:gd name="connsiteY13" fmla="*/ 242458 h 354766"/>
                <a:gd name="connsiteX14" fmla="*/ 73301 w 259577"/>
                <a:gd name="connsiteY14" fmla="*/ 75477 h 35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577" h="354766">
                  <a:moveTo>
                    <a:pt x="73301" y="75477"/>
                  </a:moveTo>
                  <a:cubicBezTo>
                    <a:pt x="73301" y="51165"/>
                    <a:pt x="92050" y="35501"/>
                    <a:pt x="125737" y="35501"/>
                  </a:cubicBezTo>
                  <a:cubicBezTo>
                    <a:pt x="187063" y="35501"/>
                    <a:pt x="200550" y="69248"/>
                    <a:pt x="209319" y="107349"/>
                  </a:cubicBezTo>
                  <a:lnTo>
                    <a:pt x="229943" y="109224"/>
                  </a:lnTo>
                  <a:lnTo>
                    <a:pt x="240526" y="26187"/>
                  </a:lnTo>
                  <a:cubicBezTo>
                    <a:pt x="203755" y="7439"/>
                    <a:pt x="172245" y="0"/>
                    <a:pt x="132027" y="0"/>
                  </a:cubicBezTo>
                  <a:cubicBezTo>
                    <a:pt x="62112" y="0"/>
                    <a:pt x="303" y="41791"/>
                    <a:pt x="303" y="106805"/>
                  </a:cubicBezTo>
                  <a:cubicBezTo>
                    <a:pt x="303" y="223529"/>
                    <a:pt x="176539" y="215424"/>
                    <a:pt x="176539" y="273544"/>
                  </a:cubicBezTo>
                  <a:cubicBezTo>
                    <a:pt x="176539" y="302272"/>
                    <a:pt x="152650" y="318540"/>
                    <a:pt x="118237" y="318540"/>
                  </a:cubicBezTo>
                  <a:cubicBezTo>
                    <a:pt x="69793" y="318540"/>
                    <a:pt x="38042" y="284793"/>
                    <a:pt x="29937" y="236108"/>
                  </a:cubicBezTo>
                  <a:lnTo>
                    <a:pt x="5625" y="235503"/>
                  </a:lnTo>
                  <a:lnTo>
                    <a:pt x="0" y="327975"/>
                  </a:lnTo>
                  <a:cubicBezTo>
                    <a:pt x="37437" y="344788"/>
                    <a:pt x="72999" y="354767"/>
                    <a:pt x="117028" y="354767"/>
                  </a:cubicBezTo>
                  <a:cubicBezTo>
                    <a:pt x="181377" y="354767"/>
                    <a:pt x="259578" y="324286"/>
                    <a:pt x="259578" y="242458"/>
                  </a:cubicBezTo>
                  <a:cubicBezTo>
                    <a:pt x="259578" y="134202"/>
                    <a:pt x="73301" y="142366"/>
                    <a:pt x="73301" y="75477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0FBEAEE7-7DCC-40D4-9488-BC9CC2D32624}"/>
                </a:ext>
              </a:extLst>
            </p:cNvPr>
            <p:cNvSpPr/>
            <p:nvPr/>
          </p:nvSpPr>
          <p:spPr>
            <a:xfrm>
              <a:off x="4235725" y="1413609"/>
              <a:ext cx="100577" cy="100515"/>
            </a:xfrm>
            <a:custGeom>
              <a:avLst/>
              <a:gdLst>
                <a:gd name="connsiteX0" fmla="*/ 50379 w 100577"/>
                <a:gd name="connsiteY0" fmla="*/ 100515 h 100515"/>
                <a:gd name="connsiteX1" fmla="*/ 100577 w 100577"/>
                <a:gd name="connsiteY1" fmla="*/ 50258 h 100515"/>
                <a:gd name="connsiteX2" fmla="*/ 50379 w 100577"/>
                <a:gd name="connsiteY2" fmla="*/ 0 h 100515"/>
                <a:gd name="connsiteX3" fmla="*/ 0 w 100577"/>
                <a:gd name="connsiteY3" fmla="*/ 50258 h 100515"/>
                <a:gd name="connsiteX4" fmla="*/ 50379 w 100577"/>
                <a:gd name="connsiteY4" fmla="*/ 100515 h 1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77" h="100515">
                  <a:moveTo>
                    <a:pt x="50379" y="100515"/>
                  </a:moveTo>
                  <a:cubicBezTo>
                    <a:pt x="78200" y="100515"/>
                    <a:pt x="100577" y="78017"/>
                    <a:pt x="100577" y="50258"/>
                  </a:cubicBezTo>
                  <a:cubicBezTo>
                    <a:pt x="100577" y="22498"/>
                    <a:pt x="78139" y="0"/>
                    <a:pt x="50379" y="0"/>
                  </a:cubicBezTo>
                  <a:cubicBezTo>
                    <a:pt x="22619" y="0"/>
                    <a:pt x="0" y="22498"/>
                    <a:pt x="0" y="50258"/>
                  </a:cubicBezTo>
                  <a:cubicBezTo>
                    <a:pt x="61" y="78017"/>
                    <a:pt x="22619" y="100515"/>
                    <a:pt x="50379" y="100515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4C311795-FBE1-46C6-A8DB-DB47540CA5B8}"/>
                </a:ext>
              </a:extLst>
            </p:cNvPr>
            <p:cNvSpPr/>
            <p:nvPr/>
          </p:nvSpPr>
          <p:spPr>
            <a:xfrm>
              <a:off x="4748106" y="1586638"/>
              <a:ext cx="315036" cy="355311"/>
            </a:xfrm>
            <a:custGeom>
              <a:avLst/>
              <a:gdLst>
                <a:gd name="connsiteX0" fmla="*/ 314976 w 315036"/>
                <a:gd name="connsiteY0" fmla="*/ 162990 h 355311"/>
                <a:gd name="connsiteX1" fmla="*/ 174422 w 315036"/>
                <a:gd name="connsiteY1" fmla="*/ 0 h 355311"/>
                <a:gd name="connsiteX2" fmla="*/ 0 w 315036"/>
                <a:gd name="connsiteY2" fmla="*/ 189056 h 355311"/>
                <a:gd name="connsiteX3" fmla="*/ 175087 w 315036"/>
                <a:gd name="connsiteY3" fmla="*/ 355311 h 355311"/>
                <a:gd name="connsiteX4" fmla="*/ 310622 w 315036"/>
                <a:gd name="connsiteY4" fmla="*/ 299127 h 355311"/>
                <a:gd name="connsiteX5" fmla="*/ 301308 w 315036"/>
                <a:gd name="connsiteY5" fmla="*/ 277959 h 355311"/>
                <a:gd name="connsiteX6" fmla="*/ 206295 w 315036"/>
                <a:gd name="connsiteY6" fmla="*/ 290781 h 355311"/>
                <a:gd name="connsiteX7" fmla="*/ 88965 w 315036"/>
                <a:gd name="connsiteY7" fmla="*/ 177988 h 355311"/>
                <a:gd name="connsiteX8" fmla="*/ 315037 w 315036"/>
                <a:gd name="connsiteY8" fmla="*/ 177988 h 355311"/>
                <a:gd name="connsiteX9" fmla="*/ 315037 w 315036"/>
                <a:gd name="connsiteY9" fmla="*/ 162990 h 355311"/>
                <a:gd name="connsiteX10" fmla="*/ 88300 w 315036"/>
                <a:gd name="connsiteY10" fmla="*/ 144181 h 355311"/>
                <a:gd name="connsiteX11" fmla="*/ 160149 w 315036"/>
                <a:gd name="connsiteY11" fmla="*/ 36771 h 355311"/>
                <a:gd name="connsiteX12" fmla="*/ 223834 w 315036"/>
                <a:gd name="connsiteY12" fmla="*/ 144181 h 355311"/>
                <a:gd name="connsiteX13" fmla="*/ 88300 w 315036"/>
                <a:gd name="connsiteY13" fmla="*/ 144181 h 35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36" h="355311">
                  <a:moveTo>
                    <a:pt x="314976" y="162990"/>
                  </a:moveTo>
                  <a:cubicBezTo>
                    <a:pt x="314976" y="74268"/>
                    <a:pt x="272520" y="0"/>
                    <a:pt x="174422" y="0"/>
                  </a:cubicBezTo>
                  <a:cubicBezTo>
                    <a:pt x="70700" y="0"/>
                    <a:pt x="0" y="90355"/>
                    <a:pt x="0" y="189056"/>
                  </a:cubicBezTo>
                  <a:cubicBezTo>
                    <a:pt x="0" y="290599"/>
                    <a:pt x="62052" y="355311"/>
                    <a:pt x="175087" y="355311"/>
                  </a:cubicBezTo>
                  <a:cubicBezTo>
                    <a:pt x="233208" y="355311"/>
                    <a:pt x="283769" y="330999"/>
                    <a:pt x="310622" y="299127"/>
                  </a:cubicBezTo>
                  <a:lnTo>
                    <a:pt x="301308" y="277959"/>
                  </a:lnTo>
                  <a:cubicBezTo>
                    <a:pt x="263811" y="286668"/>
                    <a:pt x="229459" y="290781"/>
                    <a:pt x="206295" y="290781"/>
                  </a:cubicBezTo>
                  <a:cubicBezTo>
                    <a:pt x="140735" y="290781"/>
                    <a:pt x="94589" y="262900"/>
                    <a:pt x="88965" y="177988"/>
                  </a:cubicBezTo>
                  <a:lnTo>
                    <a:pt x="315037" y="177988"/>
                  </a:lnTo>
                  <a:lnTo>
                    <a:pt x="315037" y="162990"/>
                  </a:lnTo>
                  <a:close/>
                  <a:moveTo>
                    <a:pt x="88300" y="144181"/>
                  </a:moveTo>
                  <a:cubicBezTo>
                    <a:pt x="90175" y="70518"/>
                    <a:pt x="120172" y="36771"/>
                    <a:pt x="160149" y="36771"/>
                  </a:cubicBezTo>
                  <a:cubicBezTo>
                    <a:pt x="206295" y="36771"/>
                    <a:pt x="223834" y="81102"/>
                    <a:pt x="223834" y="144181"/>
                  </a:cubicBezTo>
                  <a:lnTo>
                    <a:pt x="88300" y="144181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D18E3806-6E1B-4EC2-94FF-D75F933D3A71}"/>
                </a:ext>
              </a:extLst>
            </p:cNvPr>
            <p:cNvSpPr/>
            <p:nvPr/>
          </p:nvSpPr>
          <p:spPr>
            <a:xfrm>
              <a:off x="4187341" y="1588513"/>
              <a:ext cx="200549" cy="347811"/>
            </a:xfrm>
            <a:custGeom>
              <a:avLst/>
              <a:gdLst>
                <a:gd name="connsiteX0" fmla="*/ 143699 w 200549"/>
                <a:gd name="connsiteY0" fmla="*/ 292232 h 347811"/>
                <a:gd name="connsiteX1" fmla="*/ 142429 w 200549"/>
                <a:gd name="connsiteY1" fmla="*/ 177323 h 347811"/>
                <a:gd name="connsiteX2" fmla="*/ 142429 w 200549"/>
                <a:gd name="connsiteY2" fmla="*/ 27457 h 347811"/>
                <a:gd name="connsiteX3" fmla="*/ 113096 w 200549"/>
                <a:gd name="connsiteY3" fmla="*/ 0 h 347811"/>
                <a:gd name="connsiteX4" fmla="*/ 0 w 200549"/>
                <a:gd name="connsiteY4" fmla="*/ 13729 h 347811"/>
                <a:gd name="connsiteX5" fmla="*/ 0 w 200549"/>
                <a:gd name="connsiteY5" fmla="*/ 42456 h 347811"/>
                <a:gd name="connsiteX6" fmla="*/ 57455 w 200549"/>
                <a:gd name="connsiteY6" fmla="*/ 42456 h 347811"/>
                <a:gd name="connsiteX7" fmla="*/ 57455 w 200549"/>
                <a:gd name="connsiteY7" fmla="*/ 177323 h 347811"/>
                <a:gd name="connsiteX8" fmla="*/ 55641 w 200549"/>
                <a:gd name="connsiteY8" fmla="*/ 287878 h 347811"/>
                <a:gd name="connsiteX9" fmla="*/ 38767 w 200549"/>
                <a:gd name="connsiteY9" fmla="*/ 316000 h 347811"/>
                <a:gd name="connsiteX10" fmla="*/ 665 w 200549"/>
                <a:gd name="connsiteY10" fmla="*/ 327854 h 347811"/>
                <a:gd name="connsiteX11" fmla="*/ 3145 w 200549"/>
                <a:gd name="connsiteY11" fmla="*/ 347812 h 347811"/>
                <a:gd name="connsiteX12" fmla="*/ 196800 w 200549"/>
                <a:gd name="connsiteY12" fmla="*/ 347812 h 347811"/>
                <a:gd name="connsiteX13" fmla="*/ 200550 w 200549"/>
                <a:gd name="connsiteY13" fmla="*/ 325919 h 347811"/>
                <a:gd name="connsiteX14" fmla="*/ 154283 w 200549"/>
                <a:gd name="connsiteY14" fmla="*/ 314730 h 347811"/>
                <a:gd name="connsiteX15" fmla="*/ 143699 w 200549"/>
                <a:gd name="connsiteY15" fmla="*/ 292232 h 34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549" h="347811">
                  <a:moveTo>
                    <a:pt x="143699" y="292232"/>
                  </a:moveTo>
                  <a:lnTo>
                    <a:pt x="142429" y="177323"/>
                  </a:lnTo>
                  <a:lnTo>
                    <a:pt x="142429" y="27457"/>
                  </a:lnTo>
                  <a:cubicBezTo>
                    <a:pt x="142429" y="5564"/>
                    <a:pt x="132450" y="0"/>
                    <a:pt x="113096" y="0"/>
                  </a:cubicBezTo>
                  <a:cubicBezTo>
                    <a:pt x="83099" y="0"/>
                    <a:pt x="33748" y="6229"/>
                    <a:pt x="0" y="13729"/>
                  </a:cubicBezTo>
                  <a:lnTo>
                    <a:pt x="0" y="42456"/>
                  </a:lnTo>
                  <a:lnTo>
                    <a:pt x="57455" y="42456"/>
                  </a:lnTo>
                  <a:lnTo>
                    <a:pt x="57455" y="177323"/>
                  </a:lnTo>
                  <a:lnTo>
                    <a:pt x="55641" y="287878"/>
                  </a:lnTo>
                  <a:cubicBezTo>
                    <a:pt x="55641" y="301667"/>
                    <a:pt x="50017" y="312251"/>
                    <a:pt x="38767" y="316000"/>
                  </a:cubicBezTo>
                  <a:lnTo>
                    <a:pt x="665" y="327854"/>
                  </a:lnTo>
                  <a:cubicBezTo>
                    <a:pt x="665" y="335958"/>
                    <a:pt x="1935" y="339708"/>
                    <a:pt x="3145" y="347812"/>
                  </a:cubicBezTo>
                  <a:lnTo>
                    <a:pt x="196800" y="347812"/>
                  </a:lnTo>
                  <a:cubicBezTo>
                    <a:pt x="199945" y="339708"/>
                    <a:pt x="200550" y="332208"/>
                    <a:pt x="200550" y="325919"/>
                  </a:cubicBezTo>
                  <a:lnTo>
                    <a:pt x="154283" y="314730"/>
                  </a:lnTo>
                  <a:cubicBezTo>
                    <a:pt x="147509" y="312855"/>
                    <a:pt x="143699" y="308501"/>
                    <a:pt x="143699" y="292232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2CC1BD92-7D7E-4285-9FA3-CE4741FA5E23}"/>
                </a:ext>
              </a:extLst>
            </p:cNvPr>
            <p:cNvSpPr/>
            <p:nvPr/>
          </p:nvSpPr>
          <p:spPr>
            <a:xfrm>
              <a:off x="3810132" y="1587848"/>
              <a:ext cx="338502" cy="354041"/>
            </a:xfrm>
            <a:custGeom>
              <a:avLst/>
              <a:gdLst>
                <a:gd name="connsiteX0" fmla="*/ 171157 w 338502"/>
                <a:gd name="connsiteY0" fmla="*/ 0 h 354041"/>
                <a:gd name="connsiteX1" fmla="*/ 0 w 338502"/>
                <a:gd name="connsiteY1" fmla="*/ 183613 h 354041"/>
                <a:gd name="connsiteX2" fmla="*/ 165532 w 338502"/>
                <a:gd name="connsiteY2" fmla="*/ 354041 h 354041"/>
                <a:gd name="connsiteX3" fmla="*/ 338503 w 338502"/>
                <a:gd name="connsiteY3" fmla="*/ 171094 h 354041"/>
                <a:gd name="connsiteX4" fmla="*/ 171157 w 338502"/>
                <a:gd name="connsiteY4" fmla="*/ 0 h 354041"/>
                <a:gd name="connsiteX5" fmla="*/ 175511 w 338502"/>
                <a:gd name="connsiteY5" fmla="*/ 314186 h 354041"/>
                <a:gd name="connsiteX6" fmla="*/ 90659 w 338502"/>
                <a:gd name="connsiteY6" fmla="*/ 171759 h 354041"/>
                <a:gd name="connsiteX7" fmla="*/ 166197 w 338502"/>
                <a:gd name="connsiteY7" fmla="*/ 38706 h 354041"/>
                <a:gd name="connsiteX8" fmla="*/ 246816 w 338502"/>
                <a:gd name="connsiteY8" fmla="*/ 183613 h 354041"/>
                <a:gd name="connsiteX9" fmla="*/ 175511 w 338502"/>
                <a:gd name="connsiteY9" fmla="*/ 314186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502" h="354041">
                  <a:moveTo>
                    <a:pt x="171157" y="0"/>
                  </a:moveTo>
                  <a:cubicBezTo>
                    <a:pt x="75599" y="0"/>
                    <a:pt x="0" y="92411"/>
                    <a:pt x="0" y="183613"/>
                  </a:cubicBezTo>
                  <a:cubicBezTo>
                    <a:pt x="0" y="302272"/>
                    <a:pt x="62475" y="354041"/>
                    <a:pt x="165532" y="354041"/>
                  </a:cubicBezTo>
                  <a:cubicBezTo>
                    <a:pt x="264234" y="354041"/>
                    <a:pt x="338503" y="261630"/>
                    <a:pt x="338503" y="171094"/>
                  </a:cubicBezTo>
                  <a:cubicBezTo>
                    <a:pt x="338563" y="54370"/>
                    <a:pt x="282318" y="0"/>
                    <a:pt x="171157" y="0"/>
                  </a:cubicBezTo>
                  <a:close/>
                  <a:moveTo>
                    <a:pt x="175511" y="314186"/>
                  </a:moveTo>
                  <a:cubicBezTo>
                    <a:pt x="108077" y="314186"/>
                    <a:pt x="90659" y="245482"/>
                    <a:pt x="90659" y="171759"/>
                  </a:cubicBezTo>
                  <a:cubicBezTo>
                    <a:pt x="90659" y="104325"/>
                    <a:pt x="107472" y="38706"/>
                    <a:pt x="166197" y="38706"/>
                  </a:cubicBezTo>
                  <a:cubicBezTo>
                    <a:pt x="232543" y="38706"/>
                    <a:pt x="246816" y="104930"/>
                    <a:pt x="246816" y="183613"/>
                  </a:cubicBezTo>
                  <a:cubicBezTo>
                    <a:pt x="246695" y="248567"/>
                    <a:pt x="235507" y="314186"/>
                    <a:pt x="175511" y="314186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3291F617-9D36-4C82-AC33-427A2AA313B3}"/>
                </a:ext>
              </a:extLst>
            </p:cNvPr>
            <p:cNvSpPr/>
            <p:nvPr/>
          </p:nvSpPr>
          <p:spPr>
            <a:xfrm>
              <a:off x="3416956" y="1396736"/>
              <a:ext cx="373520" cy="545213"/>
            </a:xfrm>
            <a:custGeom>
              <a:avLst/>
              <a:gdLst>
                <a:gd name="connsiteX0" fmla="*/ 317395 w 373520"/>
                <a:gd name="connsiteY0" fmla="*/ 493384 h 545213"/>
                <a:gd name="connsiteX1" fmla="*/ 314855 w 373520"/>
                <a:gd name="connsiteY1" fmla="*/ 365351 h 545213"/>
                <a:gd name="connsiteX2" fmla="*/ 314855 w 373520"/>
                <a:gd name="connsiteY2" fmla="*/ 31207 h 545213"/>
                <a:gd name="connsiteX3" fmla="*/ 282378 w 373520"/>
                <a:gd name="connsiteY3" fmla="*/ 0 h 545213"/>
                <a:gd name="connsiteX4" fmla="*/ 172426 w 373520"/>
                <a:gd name="connsiteY4" fmla="*/ 13184 h 545213"/>
                <a:gd name="connsiteX5" fmla="*/ 172426 w 373520"/>
                <a:gd name="connsiteY5" fmla="*/ 42516 h 545213"/>
                <a:gd name="connsiteX6" fmla="*/ 229882 w 373520"/>
                <a:gd name="connsiteY6" fmla="*/ 42516 h 545213"/>
                <a:gd name="connsiteX7" fmla="*/ 229882 w 373520"/>
                <a:gd name="connsiteY7" fmla="*/ 199216 h 545213"/>
                <a:gd name="connsiteX8" fmla="*/ 176176 w 373520"/>
                <a:gd name="connsiteY8" fmla="*/ 194862 h 545213"/>
                <a:gd name="connsiteX9" fmla="*/ 0 w 373520"/>
                <a:gd name="connsiteY9" fmla="*/ 382224 h 545213"/>
                <a:gd name="connsiteX10" fmla="*/ 134929 w 373520"/>
                <a:gd name="connsiteY10" fmla="*/ 545214 h 545213"/>
                <a:gd name="connsiteX11" fmla="*/ 229217 w 373520"/>
                <a:gd name="connsiteY11" fmla="*/ 497133 h 545213"/>
                <a:gd name="connsiteX12" fmla="*/ 269133 w 373520"/>
                <a:gd name="connsiteY12" fmla="*/ 545214 h 545213"/>
                <a:gd name="connsiteX13" fmla="*/ 373520 w 373520"/>
                <a:gd name="connsiteY13" fmla="*/ 514672 h 545213"/>
                <a:gd name="connsiteX14" fmla="*/ 369166 w 373520"/>
                <a:gd name="connsiteY14" fmla="*/ 493384 h 545213"/>
                <a:gd name="connsiteX15" fmla="*/ 317395 w 373520"/>
                <a:gd name="connsiteY15" fmla="*/ 493384 h 545213"/>
                <a:gd name="connsiteX16" fmla="*/ 229942 w 373520"/>
                <a:gd name="connsiteY16" fmla="*/ 364746 h 545213"/>
                <a:gd name="connsiteX17" fmla="*/ 228068 w 373520"/>
                <a:gd name="connsiteY17" fmla="*/ 470281 h 545213"/>
                <a:gd name="connsiteX18" fmla="*/ 170552 w 373520"/>
                <a:gd name="connsiteY18" fmla="*/ 483344 h 545213"/>
                <a:gd name="connsiteX19" fmla="*/ 90054 w 373520"/>
                <a:gd name="connsiteY19" fmla="*/ 369100 h 545213"/>
                <a:gd name="connsiteX20" fmla="*/ 178112 w 373520"/>
                <a:gd name="connsiteY20" fmla="*/ 232903 h 545213"/>
                <a:gd name="connsiteX21" fmla="*/ 229942 w 373520"/>
                <a:gd name="connsiteY21" fmla="*/ 242882 h 545213"/>
                <a:gd name="connsiteX22" fmla="*/ 229942 w 373520"/>
                <a:gd name="connsiteY22" fmla="*/ 364746 h 54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3520" h="545213">
                  <a:moveTo>
                    <a:pt x="317395" y="493384"/>
                  </a:moveTo>
                  <a:lnTo>
                    <a:pt x="314855" y="365351"/>
                  </a:lnTo>
                  <a:lnTo>
                    <a:pt x="314855" y="31207"/>
                  </a:lnTo>
                  <a:cubicBezTo>
                    <a:pt x="314855" y="6229"/>
                    <a:pt x="306086" y="0"/>
                    <a:pt x="282378" y="0"/>
                  </a:cubicBezTo>
                  <a:cubicBezTo>
                    <a:pt x="252985" y="0"/>
                    <a:pt x="206174" y="6229"/>
                    <a:pt x="172426" y="13184"/>
                  </a:cubicBezTo>
                  <a:lnTo>
                    <a:pt x="172426" y="42516"/>
                  </a:lnTo>
                  <a:lnTo>
                    <a:pt x="229882" y="42516"/>
                  </a:lnTo>
                  <a:lnTo>
                    <a:pt x="229882" y="199216"/>
                  </a:lnTo>
                  <a:cubicBezTo>
                    <a:pt x="214883" y="196676"/>
                    <a:pt x="199884" y="194862"/>
                    <a:pt x="176176" y="194862"/>
                  </a:cubicBezTo>
                  <a:cubicBezTo>
                    <a:pt x="78139" y="194862"/>
                    <a:pt x="0" y="267255"/>
                    <a:pt x="0" y="382224"/>
                  </a:cubicBezTo>
                  <a:cubicBezTo>
                    <a:pt x="0" y="513402"/>
                    <a:pt x="67495" y="545214"/>
                    <a:pt x="134929" y="545214"/>
                  </a:cubicBezTo>
                  <a:cubicBezTo>
                    <a:pt x="177386" y="545214"/>
                    <a:pt x="207988" y="520901"/>
                    <a:pt x="229217" y="497133"/>
                  </a:cubicBezTo>
                  <a:cubicBezTo>
                    <a:pt x="229217" y="520236"/>
                    <a:pt x="237381" y="545214"/>
                    <a:pt x="269133" y="545214"/>
                  </a:cubicBezTo>
                  <a:cubicBezTo>
                    <a:pt x="315400" y="545214"/>
                    <a:pt x="346667" y="529610"/>
                    <a:pt x="373520" y="514672"/>
                  </a:cubicBezTo>
                  <a:lnTo>
                    <a:pt x="369166" y="493384"/>
                  </a:lnTo>
                  <a:lnTo>
                    <a:pt x="317395" y="493384"/>
                  </a:lnTo>
                  <a:close/>
                  <a:moveTo>
                    <a:pt x="229942" y="364746"/>
                  </a:moveTo>
                  <a:lnTo>
                    <a:pt x="228068" y="470281"/>
                  </a:lnTo>
                  <a:cubicBezTo>
                    <a:pt x="212524" y="475301"/>
                    <a:pt x="193111" y="483344"/>
                    <a:pt x="170552" y="483344"/>
                  </a:cubicBezTo>
                  <a:cubicBezTo>
                    <a:pt x="123136" y="483344"/>
                    <a:pt x="90054" y="447783"/>
                    <a:pt x="90054" y="369100"/>
                  </a:cubicBezTo>
                  <a:cubicBezTo>
                    <a:pt x="90054" y="277234"/>
                    <a:pt x="113822" y="232903"/>
                    <a:pt x="178112" y="232903"/>
                  </a:cubicBezTo>
                  <a:cubicBezTo>
                    <a:pt x="202545" y="232903"/>
                    <a:pt x="216879" y="238588"/>
                    <a:pt x="229942" y="242882"/>
                  </a:cubicBezTo>
                  <a:lnTo>
                    <a:pt x="229942" y="364746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9C84FB0D-48B6-4458-967E-3C1AFA3707F8}"/>
                </a:ext>
              </a:extLst>
            </p:cNvPr>
            <p:cNvSpPr/>
            <p:nvPr/>
          </p:nvSpPr>
          <p:spPr>
            <a:xfrm>
              <a:off x="2974610" y="1588453"/>
              <a:ext cx="413436" cy="353436"/>
            </a:xfrm>
            <a:custGeom>
              <a:avLst/>
              <a:gdLst>
                <a:gd name="connsiteX0" fmla="*/ 357856 w 413436"/>
                <a:gd name="connsiteY0" fmla="*/ 301667 h 353436"/>
                <a:gd name="connsiteX1" fmla="*/ 354711 w 413436"/>
                <a:gd name="connsiteY1" fmla="*/ 178049 h 353436"/>
                <a:gd name="connsiteX2" fmla="*/ 354711 w 413436"/>
                <a:gd name="connsiteY2" fmla="*/ 35017 h 353436"/>
                <a:gd name="connsiteX3" fmla="*/ 314795 w 413436"/>
                <a:gd name="connsiteY3" fmla="*/ 60 h 353436"/>
                <a:gd name="connsiteX4" fmla="*/ 217968 w 413436"/>
                <a:gd name="connsiteY4" fmla="*/ 16874 h 353436"/>
                <a:gd name="connsiteX5" fmla="*/ 217968 w 413436"/>
                <a:gd name="connsiteY5" fmla="*/ 41851 h 353436"/>
                <a:gd name="connsiteX6" fmla="*/ 269798 w 413436"/>
                <a:gd name="connsiteY6" fmla="*/ 41851 h 353436"/>
                <a:gd name="connsiteX7" fmla="*/ 269798 w 413436"/>
                <a:gd name="connsiteY7" fmla="*/ 177383 h 353436"/>
                <a:gd name="connsiteX8" fmla="*/ 267923 w 413436"/>
                <a:gd name="connsiteY8" fmla="*/ 271125 h 353436"/>
                <a:gd name="connsiteX9" fmla="*/ 186700 w 413436"/>
                <a:gd name="connsiteY9" fmla="*/ 291688 h 353436"/>
                <a:gd name="connsiteX10" fmla="*/ 138679 w 413436"/>
                <a:gd name="connsiteY10" fmla="*/ 225162 h 353436"/>
                <a:gd name="connsiteX11" fmla="*/ 138679 w 413436"/>
                <a:gd name="connsiteY11" fmla="*/ 34352 h 353436"/>
                <a:gd name="connsiteX12" fmla="*/ 99307 w 413436"/>
                <a:gd name="connsiteY12" fmla="*/ 0 h 353436"/>
                <a:gd name="connsiteX13" fmla="*/ 0 w 413436"/>
                <a:gd name="connsiteY13" fmla="*/ 16813 h 353436"/>
                <a:gd name="connsiteX14" fmla="*/ 0 w 413436"/>
                <a:gd name="connsiteY14" fmla="*/ 41791 h 353436"/>
                <a:gd name="connsiteX15" fmla="*/ 53101 w 413436"/>
                <a:gd name="connsiteY15" fmla="*/ 41791 h 353436"/>
                <a:gd name="connsiteX16" fmla="*/ 53101 w 413436"/>
                <a:gd name="connsiteY16" fmla="*/ 237862 h 353436"/>
                <a:gd name="connsiteX17" fmla="*/ 152408 w 413436"/>
                <a:gd name="connsiteY17" fmla="*/ 353436 h 353436"/>
                <a:gd name="connsiteX18" fmla="*/ 268528 w 413436"/>
                <a:gd name="connsiteY18" fmla="*/ 294772 h 353436"/>
                <a:gd name="connsiteX19" fmla="*/ 319754 w 413436"/>
                <a:gd name="connsiteY19" fmla="*/ 352166 h 353436"/>
                <a:gd name="connsiteX20" fmla="*/ 413437 w 413436"/>
                <a:gd name="connsiteY20" fmla="*/ 319085 h 353436"/>
                <a:gd name="connsiteX21" fmla="*/ 411562 w 413436"/>
                <a:gd name="connsiteY21" fmla="*/ 301606 h 353436"/>
                <a:gd name="connsiteX22" fmla="*/ 357856 w 413436"/>
                <a:gd name="connsiteY22" fmla="*/ 301606 h 35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3436" h="353436">
                  <a:moveTo>
                    <a:pt x="357856" y="301667"/>
                  </a:moveTo>
                  <a:lnTo>
                    <a:pt x="354711" y="178049"/>
                  </a:lnTo>
                  <a:lnTo>
                    <a:pt x="354711" y="35017"/>
                  </a:lnTo>
                  <a:cubicBezTo>
                    <a:pt x="354711" y="10644"/>
                    <a:pt x="339108" y="60"/>
                    <a:pt x="314795" y="60"/>
                  </a:cubicBezTo>
                  <a:cubicBezTo>
                    <a:pt x="284797" y="60"/>
                    <a:pt x="248510" y="8165"/>
                    <a:pt x="217968" y="16874"/>
                  </a:cubicBezTo>
                  <a:lnTo>
                    <a:pt x="217968" y="41851"/>
                  </a:lnTo>
                  <a:lnTo>
                    <a:pt x="269798" y="41851"/>
                  </a:lnTo>
                  <a:lnTo>
                    <a:pt x="269798" y="177383"/>
                  </a:lnTo>
                  <a:lnTo>
                    <a:pt x="267923" y="271125"/>
                  </a:lnTo>
                  <a:cubicBezTo>
                    <a:pt x="248510" y="279834"/>
                    <a:pt x="223048" y="291688"/>
                    <a:pt x="186700" y="291688"/>
                  </a:cubicBezTo>
                  <a:cubicBezTo>
                    <a:pt x="145090" y="291688"/>
                    <a:pt x="139344" y="261388"/>
                    <a:pt x="138679" y="225162"/>
                  </a:cubicBezTo>
                  <a:lnTo>
                    <a:pt x="138679" y="34352"/>
                  </a:lnTo>
                  <a:cubicBezTo>
                    <a:pt x="138679" y="10584"/>
                    <a:pt x="124950" y="0"/>
                    <a:pt x="99307" y="0"/>
                  </a:cubicBezTo>
                  <a:cubicBezTo>
                    <a:pt x="69975" y="0"/>
                    <a:pt x="34352" y="7499"/>
                    <a:pt x="0" y="16813"/>
                  </a:cubicBezTo>
                  <a:lnTo>
                    <a:pt x="0" y="41791"/>
                  </a:lnTo>
                  <a:lnTo>
                    <a:pt x="53101" y="41791"/>
                  </a:lnTo>
                  <a:lnTo>
                    <a:pt x="53101" y="237862"/>
                  </a:lnTo>
                  <a:cubicBezTo>
                    <a:pt x="53101" y="296587"/>
                    <a:pt x="59935" y="353436"/>
                    <a:pt x="152408" y="353436"/>
                  </a:cubicBezTo>
                  <a:cubicBezTo>
                    <a:pt x="201094" y="353436"/>
                    <a:pt x="236716" y="326040"/>
                    <a:pt x="268528" y="294772"/>
                  </a:cubicBezTo>
                  <a:cubicBezTo>
                    <a:pt x="269194" y="330999"/>
                    <a:pt x="286612" y="352166"/>
                    <a:pt x="319754" y="352166"/>
                  </a:cubicBezTo>
                  <a:cubicBezTo>
                    <a:pt x="360941" y="352166"/>
                    <a:pt x="390939" y="332874"/>
                    <a:pt x="413437" y="319085"/>
                  </a:cubicBezTo>
                  <a:lnTo>
                    <a:pt x="411562" y="301606"/>
                  </a:lnTo>
                  <a:lnTo>
                    <a:pt x="357856" y="301606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5C5EEED2-C2DB-4A73-B775-4258395E226A}"/>
                </a:ext>
              </a:extLst>
            </p:cNvPr>
            <p:cNvSpPr/>
            <p:nvPr/>
          </p:nvSpPr>
          <p:spPr>
            <a:xfrm>
              <a:off x="2256004" y="1595287"/>
              <a:ext cx="362442" cy="357851"/>
            </a:xfrm>
            <a:custGeom>
              <a:avLst/>
              <a:gdLst>
                <a:gd name="connsiteX0" fmla="*/ 254608 w 362442"/>
                <a:gd name="connsiteY0" fmla="*/ 21288 h 357851"/>
                <a:gd name="connsiteX1" fmla="*/ 283094 w 362442"/>
                <a:gd name="connsiteY1" fmla="*/ 30663 h 357851"/>
                <a:gd name="connsiteX2" fmla="*/ 296157 w 362442"/>
                <a:gd name="connsiteY2" fmla="*/ 50620 h 357851"/>
                <a:gd name="connsiteX3" fmla="*/ 292468 w 362442"/>
                <a:gd name="connsiteY3" fmla="*/ 69974 h 357851"/>
                <a:gd name="connsiteX4" fmla="*/ 211849 w 362442"/>
                <a:gd name="connsiteY4" fmla="*/ 274814 h 357851"/>
                <a:gd name="connsiteX5" fmla="*/ 124396 w 362442"/>
                <a:gd name="connsiteY5" fmla="*/ 0 h 357851"/>
                <a:gd name="connsiteX6" fmla="*/ 1320 w 362442"/>
                <a:gd name="connsiteY6" fmla="*/ 0 h 357851"/>
                <a:gd name="connsiteX7" fmla="*/ 1804 w 362442"/>
                <a:gd name="connsiteY7" fmla="*/ 24373 h 357851"/>
                <a:gd name="connsiteX8" fmla="*/ 51095 w 362442"/>
                <a:gd name="connsiteY8" fmla="*/ 59269 h 357851"/>
                <a:gd name="connsiteX9" fmla="*/ 156873 w 362442"/>
                <a:gd name="connsiteY9" fmla="*/ 357851 h 357851"/>
                <a:gd name="connsiteX10" fmla="*/ 219288 w 362442"/>
                <a:gd name="connsiteY10" fmla="*/ 339768 h 357851"/>
                <a:gd name="connsiteX11" fmla="*/ 328030 w 362442"/>
                <a:gd name="connsiteY11" fmla="*/ 79953 h 357851"/>
                <a:gd name="connsiteX12" fmla="*/ 361717 w 362442"/>
                <a:gd name="connsiteY12" fmla="*/ 15603 h 357851"/>
                <a:gd name="connsiteX13" fmla="*/ 362442 w 362442"/>
                <a:gd name="connsiteY13" fmla="*/ 0 h 357851"/>
                <a:gd name="connsiteX14" fmla="*/ 255273 w 362442"/>
                <a:gd name="connsiteY14" fmla="*/ 0 h 357851"/>
                <a:gd name="connsiteX15" fmla="*/ 254608 w 362442"/>
                <a:gd name="connsiteY15" fmla="*/ 21288 h 3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442" h="357851">
                  <a:moveTo>
                    <a:pt x="254608" y="21288"/>
                  </a:moveTo>
                  <a:lnTo>
                    <a:pt x="283094" y="30663"/>
                  </a:lnTo>
                  <a:cubicBezTo>
                    <a:pt x="291198" y="33807"/>
                    <a:pt x="296157" y="40037"/>
                    <a:pt x="296157" y="50620"/>
                  </a:cubicBezTo>
                  <a:cubicBezTo>
                    <a:pt x="296157" y="56245"/>
                    <a:pt x="294947" y="62474"/>
                    <a:pt x="292468" y="69974"/>
                  </a:cubicBezTo>
                  <a:lnTo>
                    <a:pt x="211849" y="274814"/>
                  </a:lnTo>
                  <a:lnTo>
                    <a:pt x="124396" y="0"/>
                  </a:lnTo>
                  <a:lnTo>
                    <a:pt x="1320" y="0"/>
                  </a:lnTo>
                  <a:cubicBezTo>
                    <a:pt x="-1159" y="7499"/>
                    <a:pt x="353" y="18506"/>
                    <a:pt x="1804" y="24373"/>
                  </a:cubicBezTo>
                  <a:cubicBezTo>
                    <a:pt x="31076" y="34473"/>
                    <a:pt x="40692" y="32054"/>
                    <a:pt x="51095" y="59269"/>
                  </a:cubicBezTo>
                  <a:lnTo>
                    <a:pt x="156873" y="357851"/>
                  </a:lnTo>
                  <a:lnTo>
                    <a:pt x="219288" y="339768"/>
                  </a:lnTo>
                  <a:lnTo>
                    <a:pt x="328030" y="79953"/>
                  </a:lnTo>
                  <a:cubicBezTo>
                    <a:pt x="339279" y="51286"/>
                    <a:pt x="351133" y="27518"/>
                    <a:pt x="361717" y="15603"/>
                  </a:cubicBezTo>
                  <a:cubicBezTo>
                    <a:pt x="362442" y="13124"/>
                    <a:pt x="362442" y="2480"/>
                    <a:pt x="362442" y="0"/>
                  </a:cubicBezTo>
                  <a:lnTo>
                    <a:pt x="255273" y="0"/>
                  </a:lnTo>
                  <a:cubicBezTo>
                    <a:pt x="253398" y="7560"/>
                    <a:pt x="253398" y="13184"/>
                    <a:pt x="254608" y="21288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228217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Apla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e libre : forme 18">
            <a:extLst>
              <a:ext uri="{FF2B5EF4-FFF2-40B4-BE49-F238E27FC236}">
                <a16:creationId xmlns:a16="http://schemas.microsoft.com/office/drawing/2014/main" id="{9231389F-9F3F-416B-9495-C3EAB576FBA0}"/>
              </a:ext>
            </a:extLst>
          </p:cNvPr>
          <p:cNvSpPr/>
          <p:nvPr userDrawn="1"/>
        </p:nvSpPr>
        <p:spPr>
          <a:xfrm>
            <a:off x="762000" y="2"/>
            <a:ext cx="10668000" cy="6857998"/>
          </a:xfrm>
          <a:custGeom>
            <a:avLst/>
            <a:gdLst>
              <a:gd name="connsiteX0" fmla="*/ 1138593 w 10668000"/>
              <a:gd name="connsiteY0" fmla="*/ 0 h 6857998"/>
              <a:gd name="connsiteX1" fmla="*/ 9529407 w 10668000"/>
              <a:gd name="connsiteY1" fmla="*/ 0 h 6857998"/>
              <a:gd name="connsiteX2" fmla="*/ 9608323 w 10668000"/>
              <a:gd name="connsiteY2" fmla="*/ 100422 h 6857998"/>
              <a:gd name="connsiteX3" fmla="*/ 10668000 w 10668000"/>
              <a:gd name="connsiteY3" fmla="*/ 3291839 h 6857998"/>
              <a:gd name="connsiteX4" fmla="*/ 9449974 w 10668000"/>
              <a:gd name="connsiteY4" fmla="*/ 6684759 h 6857998"/>
              <a:gd name="connsiteX5" fmla="*/ 9299910 w 10668000"/>
              <a:gd name="connsiteY5" fmla="*/ 6857998 h 6857998"/>
              <a:gd name="connsiteX6" fmla="*/ 1368090 w 10668000"/>
              <a:gd name="connsiteY6" fmla="*/ 6857998 h 6857998"/>
              <a:gd name="connsiteX7" fmla="*/ 1218027 w 10668000"/>
              <a:gd name="connsiteY7" fmla="*/ 6684759 h 6857998"/>
              <a:gd name="connsiteX8" fmla="*/ 0 w 10668000"/>
              <a:gd name="connsiteY8" fmla="*/ 3291839 h 6857998"/>
              <a:gd name="connsiteX9" fmla="*/ 1059677 w 10668000"/>
              <a:gd name="connsiteY9" fmla="*/ 100422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668000" h="6857998">
                <a:moveTo>
                  <a:pt x="1138593" y="0"/>
                </a:moveTo>
                <a:lnTo>
                  <a:pt x="9529407" y="0"/>
                </a:lnTo>
                <a:lnTo>
                  <a:pt x="9608323" y="100422"/>
                </a:lnTo>
                <a:cubicBezTo>
                  <a:pt x="10273868" y="990360"/>
                  <a:pt x="10668000" y="2095073"/>
                  <a:pt x="10668000" y="3291839"/>
                </a:cubicBezTo>
                <a:cubicBezTo>
                  <a:pt x="10668000" y="4580665"/>
                  <a:pt x="10210900" y="5762729"/>
                  <a:pt x="9449974" y="6684759"/>
                </a:cubicBezTo>
                <a:lnTo>
                  <a:pt x="9299910" y="6857998"/>
                </a:lnTo>
                <a:lnTo>
                  <a:pt x="1368090" y="6857998"/>
                </a:lnTo>
                <a:lnTo>
                  <a:pt x="1218027" y="6684759"/>
                </a:lnTo>
                <a:cubicBezTo>
                  <a:pt x="457100" y="5762729"/>
                  <a:pt x="0" y="4580665"/>
                  <a:pt x="0" y="3291839"/>
                </a:cubicBezTo>
                <a:cubicBezTo>
                  <a:pt x="0" y="2095073"/>
                  <a:pt x="394132" y="990360"/>
                  <a:pt x="1059677" y="100422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866FA65A-92B8-432E-9E00-DC66520185E9}"/>
              </a:ext>
            </a:extLst>
          </p:cNvPr>
          <p:cNvGrpSpPr/>
          <p:nvPr userDrawn="1"/>
        </p:nvGrpSpPr>
        <p:grpSpPr>
          <a:xfrm>
            <a:off x="4210224" y="1157423"/>
            <a:ext cx="3771552" cy="970982"/>
            <a:chOff x="1291590" y="1157423"/>
            <a:chExt cx="3771552" cy="970982"/>
          </a:xfrm>
          <a:solidFill>
            <a:schemeClr val="accent2"/>
          </a:solidFill>
        </p:grpSpPr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3206FA29-FE3B-4174-B2F5-8BF6C46F0CAA}"/>
                </a:ext>
              </a:extLst>
            </p:cNvPr>
            <p:cNvSpPr/>
            <p:nvPr/>
          </p:nvSpPr>
          <p:spPr>
            <a:xfrm>
              <a:off x="1291590" y="1157423"/>
              <a:ext cx="830865" cy="970982"/>
            </a:xfrm>
            <a:custGeom>
              <a:avLst/>
              <a:gdLst>
                <a:gd name="connsiteX0" fmla="*/ 824455 w 830865"/>
                <a:gd name="connsiteY0" fmla="*/ 115635 h 970982"/>
                <a:gd name="connsiteX1" fmla="*/ 797118 w 830865"/>
                <a:gd name="connsiteY1" fmla="*/ 30602 h 970982"/>
                <a:gd name="connsiteX2" fmla="*/ 746557 w 830865"/>
                <a:gd name="connsiteY2" fmla="*/ 0 h 970982"/>
                <a:gd name="connsiteX3" fmla="*/ 644528 w 830865"/>
                <a:gd name="connsiteY3" fmla="*/ 74026 h 970982"/>
                <a:gd name="connsiteX4" fmla="*/ 432004 w 830865"/>
                <a:gd name="connsiteY4" fmla="*/ 499250 h 970982"/>
                <a:gd name="connsiteX5" fmla="*/ 228612 w 830865"/>
                <a:gd name="connsiteY5" fmla="*/ 373273 h 970982"/>
                <a:gd name="connsiteX6" fmla="*/ 147146 w 830865"/>
                <a:gd name="connsiteY6" fmla="*/ 389058 h 970982"/>
                <a:gd name="connsiteX7" fmla="*/ 0 w 830865"/>
                <a:gd name="connsiteY7" fmla="*/ 601640 h 970982"/>
                <a:gd name="connsiteX8" fmla="*/ 194502 w 830865"/>
                <a:gd name="connsiteY8" fmla="*/ 816883 h 970982"/>
                <a:gd name="connsiteX9" fmla="*/ 197949 w 830865"/>
                <a:gd name="connsiteY9" fmla="*/ 816944 h 970982"/>
                <a:gd name="connsiteX10" fmla="*/ 283406 w 830865"/>
                <a:gd name="connsiteY10" fmla="*/ 795171 h 970982"/>
                <a:gd name="connsiteX11" fmla="*/ 338563 w 830865"/>
                <a:gd name="connsiteY11" fmla="*/ 749329 h 970982"/>
                <a:gd name="connsiteX12" fmla="*/ 375456 w 830865"/>
                <a:gd name="connsiteY12" fmla="*/ 693144 h 970982"/>
                <a:gd name="connsiteX13" fmla="*/ 492907 w 830865"/>
                <a:gd name="connsiteY13" fmla="*/ 915463 h 970982"/>
                <a:gd name="connsiteX14" fmla="*/ 582598 w 830865"/>
                <a:gd name="connsiteY14" fmla="*/ 970983 h 970982"/>
                <a:gd name="connsiteX15" fmla="*/ 582658 w 830865"/>
                <a:gd name="connsiteY15" fmla="*/ 970983 h 970982"/>
                <a:gd name="connsiteX16" fmla="*/ 661886 w 830865"/>
                <a:gd name="connsiteY16" fmla="*/ 917096 h 970982"/>
                <a:gd name="connsiteX17" fmla="*/ 799779 w 830865"/>
                <a:gd name="connsiteY17" fmla="*/ 531243 h 970982"/>
                <a:gd name="connsiteX18" fmla="*/ 830865 w 830865"/>
                <a:gd name="connsiteY18" fmla="*/ 227823 h 970982"/>
                <a:gd name="connsiteX19" fmla="*/ 824455 w 830865"/>
                <a:gd name="connsiteY19" fmla="*/ 115635 h 970982"/>
                <a:gd name="connsiteX20" fmla="*/ 247905 w 830865"/>
                <a:gd name="connsiteY20" fmla="*/ 773339 h 970982"/>
                <a:gd name="connsiteX21" fmla="*/ 226979 w 830865"/>
                <a:gd name="connsiteY21" fmla="*/ 775516 h 970982"/>
                <a:gd name="connsiteX22" fmla="*/ 100517 w 830865"/>
                <a:gd name="connsiteY22" fmla="*/ 667925 h 970982"/>
                <a:gd name="connsiteX23" fmla="*/ 98037 w 830865"/>
                <a:gd name="connsiteY23" fmla="*/ 640407 h 970982"/>
                <a:gd name="connsiteX24" fmla="*/ 187063 w 830865"/>
                <a:gd name="connsiteY24" fmla="*/ 514007 h 970982"/>
                <a:gd name="connsiteX25" fmla="*/ 217000 w 830865"/>
                <a:gd name="connsiteY25" fmla="*/ 509229 h 970982"/>
                <a:gd name="connsiteX26" fmla="*/ 359671 w 830865"/>
                <a:gd name="connsiteY26" fmla="*/ 654982 h 970982"/>
                <a:gd name="connsiteX27" fmla="*/ 247905 w 830865"/>
                <a:gd name="connsiteY27" fmla="*/ 773339 h 970982"/>
                <a:gd name="connsiteX28" fmla="*/ 727022 w 830865"/>
                <a:gd name="connsiteY28" fmla="*/ 620268 h 970982"/>
                <a:gd name="connsiteX29" fmla="*/ 622574 w 830865"/>
                <a:gd name="connsiteY29" fmla="*/ 688366 h 970982"/>
                <a:gd name="connsiteX30" fmla="*/ 615982 w 830865"/>
                <a:gd name="connsiteY30" fmla="*/ 688064 h 970982"/>
                <a:gd name="connsiteX31" fmla="*/ 451841 w 830865"/>
                <a:gd name="connsiteY31" fmla="*/ 533541 h 970982"/>
                <a:gd name="connsiteX32" fmla="*/ 537359 w 830865"/>
                <a:gd name="connsiteY32" fmla="*/ 364444 h 970982"/>
                <a:gd name="connsiteX33" fmla="*/ 607636 w 830865"/>
                <a:gd name="connsiteY33" fmla="*/ 287454 h 970982"/>
                <a:gd name="connsiteX34" fmla="*/ 665091 w 830865"/>
                <a:gd name="connsiteY34" fmla="*/ 261811 h 970982"/>
                <a:gd name="connsiteX35" fmla="*/ 696601 w 830865"/>
                <a:gd name="connsiteY35" fmla="*/ 262658 h 970982"/>
                <a:gd name="connsiteX36" fmla="*/ 753815 w 830865"/>
                <a:gd name="connsiteY36" fmla="*/ 305537 h 970982"/>
                <a:gd name="connsiteX37" fmla="*/ 780849 w 830865"/>
                <a:gd name="connsiteY37" fmla="*/ 404299 h 970982"/>
                <a:gd name="connsiteX38" fmla="*/ 727022 w 830865"/>
                <a:gd name="connsiteY38" fmla="*/ 620268 h 97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30865" h="970982">
                  <a:moveTo>
                    <a:pt x="824455" y="115635"/>
                  </a:moveTo>
                  <a:cubicBezTo>
                    <a:pt x="819616" y="78924"/>
                    <a:pt x="810302" y="50318"/>
                    <a:pt x="797118" y="30602"/>
                  </a:cubicBezTo>
                  <a:cubicBezTo>
                    <a:pt x="783994" y="10886"/>
                    <a:pt x="768451" y="0"/>
                    <a:pt x="746557" y="0"/>
                  </a:cubicBezTo>
                  <a:cubicBezTo>
                    <a:pt x="716136" y="0"/>
                    <a:pt x="683114" y="21047"/>
                    <a:pt x="644528" y="74026"/>
                  </a:cubicBezTo>
                  <a:cubicBezTo>
                    <a:pt x="582779" y="158938"/>
                    <a:pt x="510446" y="313158"/>
                    <a:pt x="432004" y="499250"/>
                  </a:cubicBezTo>
                  <a:cubicBezTo>
                    <a:pt x="400434" y="448146"/>
                    <a:pt x="331790" y="373334"/>
                    <a:pt x="228612" y="373273"/>
                  </a:cubicBezTo>
                  <a:cubicBezTo>
                    <a:pt x="203150" y="373273"/>
                    <a:pt x="175934" y="378051"/>
                    <a:pt x="147146" y="389058"/>
                  </a:cubicBezTo>
                  <a:cubicBezTo>
                    <a:pt x="36892" y="431151"/>
                    <a:pt x="-60" y="533058"/>
                    <a:pt x="0" y="601640"/>
                  </a:cubicBezTo>
                  <a:cubicBezTo>
                    <a:pt x="0" y="718243"/>
                    <a:pt x="88300" y="814767"/>
                    <a:pt x="194502" y="816883"/>
                  </a:cubicBezTo>
                  <a:cubicBezTo>
                    <a:pt x="195651" y="816944"/>
                    <a:pt x="196800" y="816944"/>
                    <a:pt x="197949" y="816944"/>
                  </a:cubicBezTo>
                  <a:cubicBezTo>
                    <a:pt x="226677" y="816944"/>
                    <a:pt x="258428" y="808719"/>
                    <a:pt x="283406" y="795171"/>
                  </a:cubicBezTo>
                  <a:cubicBezTo>
                    <a:pt x="305481" y="783197"/>
                    <a:pt x="324109" y="766988"/>
                    <a:pt x="338563" y="749329"/>
                  </a:cubicBezTo>
                  <a:cubicBezTo>
                    <a:pt x="355740" y="728403"/>
                    <a:pt x="367654" y="708022"/>
                    <a:pt x="375456" y="693144"/>
                  </a:cubicBezTo>
                  <a:cubicBezTo>
                    <a:pt x="418820" y="797107"/>
                    <a:pt x="461155" y="875487"/>
                    <a:pt x="492907" y="915463"/>
                  </a:cubicBezTo>
                  <a:cubicBezTo>
                    <a:pt x="521574" y="951327"/>
                    <a:pt x="552237" y="970983"/>
                    <a:pt x="582598" y="970983"/>
                  </a:cubicBezTo>
                  <a:lnTo>
                    <a:pt x="582658" y="970983"/>
                  </a:lnTo>
                  <a:cubicBezTo>
                    <a:pt x="611386" y="970983"/>
                    <a:pt x="638722" y="953081"/>
                    <a:pt x="661886" y="917096"/>
                  </a:cubicBezTo>
                  <a:cubicBezTo>
                    <a:pt x="724845" y="819665"/>
                    <a:pt x="768330" y="672521"/>
                    <a:pt x="799779" y="531243"/>
                  </a:cubicBezTo>
                  <a:cubicBezTo>
                    <a:pt x="818346" y="447662"/>
                    <a:pt x="830865" y="330515"/>
                    <a:pt x="830865" y="227823"/>
                  </a:cubicBezTo>
                  <a:cubicBezTo>
                    <a:pt x="830805" y="187181"/>
                    <a:pt x="828809" y="148777"/>
                    <a:pt x="824455" y="115635"/>
                  </a:cubicBezTo>
                  <a:close/>
                  <a:moveTo>
                    <a:pt x="247905" y="773339"/>
                  </a:moveTo>
                  <a:cubicBezTo>
                    <a:pt x="241313" y="774730"/>
                    <a:pt x="234297" y="775516"/>
                    <a:pt x="226979" y="775516"/>
                  </a:cubicBezTo>
                  <a:cubicBezTo>
                    <a:pt x="176539" y="775455"/>
                    <a:pt x="113883" y="740438"/>
                    <a:pt x="100517" y="667925"/>
                  </a:cubicBezTo>
                  <a:cubicBezTo>
                    <a:pt x="98884" y="658974"/>
                    <a:pt x="98037" y="649721"/>
                    <a:pt x="98037" y="640407"/>
                  </a:cubicBezTo>
                  <a:cubicBezTo>
                    <a:pt x="98098" y="588093"/>
                    <a:pt x="124648" y="533965"/>
                    <a:pt x="187063" y="514007"/>
                  </a:cubicBezTo>
                  <a:cubicBezTo>
                    <a:pt x="197284" y="510741"/>
                    <a:pt x="207263" y="509229"/>
                    <a:pt x="217000" y="509229"/>
                  </a:cubicBezTo>
                  <a:cubicBezTo>
                    <a:pt x="274213" y="509229"/>
                    <a:pt x="327072" y="565414"/>
                    <a:pt x="359671" y="654982"/>
                  </a:cubicBezTo>
                  <a:cubicBezTo>
                    <a:pt x="343583" y="693689"/>
                    <a:pt x="305058" y="761183"/>
                    <a:pt x="247905" y="773339"/>
                  </a:cubicBezTo>
                  <a:close/>
                  <a:moveTo>
                    <a:pt x="727022" y="620268"/>
                  </a:moveTo>
                  <a:cubicBezTo>
                    <a:pt x="698537" y="663207"/>
                    <a:pt x="656624" y="688366"/>
                    <a:pt x="622574" y="688366"/>
                  </a:cubicBezTo>
                  <a:cubicBezTo>
                    <a:pt x="620397" y="688366"/>
                    <a:pt x="618220" y="688306"/>
                    <a:pt x="615982" y="688064"/>
                  </a:cubicBezTo>
                  <a:cubicBezTo>
                    <a:pt x="534214" y="680807"/>
                    <a:pt x="472949" y="571099"/>
                    <a:pt x="451841" y="533541"/>
                  </a:cubicBezTo>
                  <a:cubicBezTo>
                    <a:pt x="482867" y="456008"/>
                    <a:pt x="508268" y="406899"/>
                    <a:pt x="537359" y="364444"/>
                  </a:cubicBezTo>
                  <a:cubicBezTo>
                    <a:pt x="562035" y="328398"/>
                    <a:pt x="586166" y="303421"/>
                    <a:pt x="607636" y="287454"/>
                  </a:cubicBezTo>
                  <a:cubicBezTo>
                    <a:pt x="628380" y="272032"/>
                    <a:pt x="647492" y="264231"/>
                    <a:pt x="665091" y="261811"/>
                  </a:cubicBezTo>
                  <a:cubicBezTo>
                    <a:pt x="676522" y="260179"/>
                    <a:pt x="687106" y="260541"/>
                    <a:pt x="696601" y="262658"/>
                  </a:cubicBezTo>
                  <a:cubicBezTo>
                    <a:pt x="721277" y="268222"/>
                    <a:pt x="740993" y="285761"/>
                    <a:pt x="753815" y="305537"/>
                  </a:cubicBezTo>
                  <a:cubicBezTo>
                    <a:pt x="771354" y="332571"/>
                    <a:pt x="780849" y="368737"/>
                    <a:pt x="780849" y="404299"/>
                  </a:cubicBezTo>
                  <a:cubicBezTo>
                    <a:pt x="780909" y="501064"/>
                    <a:pt x="758109" y="573457"/>
                    <a:pt x="727022" y="620268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orme libre : forme 49">
              <a:extLst>
                <a:ext uri="{FF2B5EF4-FFF2-40B4-BE49-F238E27FC236}">
                  <a16:creationId xmlns:a16="http://schemas.microsoft.com/office/drawing/2014/main" id="{52832B58-83CC-43B4-8EAB-C92CB5350BD8}"/>
                </a:ext>
              </a:extLst>
            </p:cNvPr>
            <p:cNvSpPr/>
            <p:nvPr/>
          </p:nvSpPr>
          <p:spPr>
            <a:xfrm>
              <a:off x="2631027" y="1587848"/>
              <a:ext cx="339168" cy="354041"/>
            </a:xfrm>
            <a:custGeom>
              <a:avLst/>
              <a:gdLst>
                <a:gd name="connsiteX0" fmla="*/ 284858 w 339168"/>
                <a:gd name="connsiteY0" fmla="*/ 302272 h 354041"/>
                <a:gd name="connsiteX1" fmla="*/ 280503 w 339168"/>
                <a:gd name="connsiteY1" fmla="*/ 177383 h 354041"/>
                <a:gd name="connsiteX2" fmla="*/ 280503 w 339168"/>
                <a:gd name="connsiteY2" fmla="*/ 96766 h 354041"/>
                <a:gd name="connsiteX3" fmla="*/ 157428 w 339168"/>
                <a:gd name="connsiteY3" fmla="*/ 0 h 354041"/>
                <a:gd name="connsiteX4" fmla="*/ 24434 w 339168"/>
                <a:gd name="connsiteY4" fmla="*/ 46206 h 354041"/>
                <a:gd name="connsiteX5" fmla="*/ 33808 w 339168"/>
                <a:gd name="connsiteY5" fmla="*/ 70578 h 354041"/>
                <a:gd name="connsiteX6" fmla="*/ 119386 w 339168"/>
                <a:gd name="connsiteY6" fmla="*/ 57515 h 354041"/>
                <a:gd name="connsiteX7" fmla="*/ 196195 w 339168"/>
                <a:gd name="connsiteY7" fmla="*/ 116119 h 354041"/>
                <a:gd name="connsiteX8" fmla="*/ 196195 w 339168"/>
                <a:gd name="connsiteY8" fmla="*/ 156942 h 354041"/>
                <a:gd name="connsiteX9" fmla="*/ 141159 w 339168"/>
                <a:gd name="connsiteY9" fmla="*/ 163171 h 354041"/>
                <a:gd name="connsiteX10" fmla="*/ 0 w 339168"/>
                <a:gd name="connsiteY10" fmla="*/ 274572 h 354041"/>
                <a:gd name="connsiteX11" fmla="*/ 84973 w 339168"/>
                <a:gd name="connsiteY11" fmla="*/ 354041 h 354041"/>
                <a:gd name="connsiteX12" fmla="*/ 197344 w 339168"/>
                <a:gd name="connsiteY12" fmla="*/ 295317 h 354041"/>
                <a:gd name="connsiteX13" fmla="*/ 257400 w 339168"/>
                <a:gd name="connsiteY13" fmla="*/ 353436 h 354041"/>
                <a:gd name="connsiteX14" fmla="*/ 339168 w 339168"/>
                <a:gd name="connsiteY14" fmla="*/ 319085 h 354041"/>
                <a:gd name="connsiteX15" fmla="*/ 336689 w 339168"/>
                <a:gd name="connsiteY15" fmla="*/ 302211 h 354041"/>
                <a:gd name="connsiteX16" fmla="*/ 284858 w 339168"/>
                <a:gd name="connsiteY16" fmla="*/ 302211 h 354041"/>
                <a:gd name="connsiteX17" fmla="*/ 196195 w 339168"/>
                <a:gd name="connsiteY17" fmla="*/ 276689 h 354041"/>
                <a:gd name="connsiteX18" fmla="*/ 128095 w 339168"/>
                <a:gd name="connsiteY18" fmla="*/ 294167 h 354041"/>
                <a:gd name="connsiteX19" fmla="*/ 85639 w 339168"/>
                <a:gd name="connsiteY19" fmla="*/ 250260 h 354041"/>
                <a:gd name="connsiteX20" fmla="*/ 157428 w 339168"/>
                <a:gd name="connsiteY20" fmla="*/ 191959 h 354041"/>
                <a:gd name="connsiteX21" fmla="*/ 196195 w 339168"/>
                <a:gd name="connsiteY21" fmla="*/ 185064 h 354041"/>
                <a:gd name="connsiteX22" fmla="*/ 196195 w 339168"/>
                <a:gd name="connsiteY22" fmla="*/ 276689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9168" h="354041">
                  <a:moveTo>
                    <a:pt x="284858" y="302272"/>
                  </a:moveTo>
                  <a:lnTo>
                    <a:pt x="280503" y="177383"/>
                  </a:lnTo>
                  <a:lnTo>
                    <a:pt x="280503" y="96766"/>
                  </a:lnTo>
                  <a:cubicBezTo>
                    <a:pt x="280503" y="11249"/>
                    <a:pt x="208654" y="0"/>
                    <a:pt x="157428" y="0"/>
                  </a:cubicBezTo>
                  <a:cubicBezTo>
                    <a:pt x="103722" y="0"/>
                    <a:pt x="49956" y="28123"/>
                    <a:pt x="24434" y="46206"/>
                  </a:cubicBezTo>
                  <a:lnTo>
                    <a:pt x="33808" y="70578"/>
                  </a:lnTo>
                  <a:cubicBezTo>
                    <a:pt x="66285" y="61809"/>
                    <a:pt x="96888" y="57515"/>
                    <a:pt x="119386" y="57515"/>
                  </a:cubicBezTo>
                  <a:cubicBezTo>
                    <a:pt x="170612" y="57515"/>
                    <a:pt x="196195" y="73663"/>
                    <a:pt x="196195" y="116119"/>
                  </a:cubicBezTo>
                  <a:lnTo>
                    <a:pt x="196195" y="156942"/>
                  </a:lnTo>
                  <a:lnTo>
                    <a:pt x="141159" y="163171"/>
                  </a:lnTo>
                  <a:cubicBezTo>
                    <a:pt x="73785" y="171275"/>
                    <a:pt x="0" y="192443"/>
                    <a:pt x="0" y="274572"/>
                  </a:cubicBezTo>
                  <a:cubicBezTo>
                    <a:pt x="0" y="318298"/>
                    <a:pt x="32538" y="354041"/>
                    <a:pt x="84973" y="354041"/>
                  </a:cubicBezTo>
                  <a:cubicBezTo>
                    <a:pt x="139284" y="354041"/>
                    <a:pt x="174906" y="322834"/>
                    <a:pt x="197344" y="295317"/>
                  </a:cubicBezTo>
                  <a:cubicBezTo>
                    <a:pt x="199824" y="331543"/>
                    <a:pt x="211738" y="353436"/>
                    <a:pt x="257400" y="353436"/>
                  </a:cubicBezTo>
                  <a:cubicBezTo>
                    <a:pt x="281713" y="353436"/>
                    <a:pt x="319815" y="337168"/>
                    <a:pt x="339168" y="319085"/>
                  </a:cubicBezTo>
                  <a:lnTo>
                    <a:pt x="336689" y="302211"/>
                  </a:lnTo>
                  <a:lnTo>
                    <a:pt x="284858" y="302211"/>
                  </a:lnTo>
                  <a:close/>
                  <a:moveTo>
                    <a:pt x="196195" y="276689"/>
                  </a:moveTo>
                  <a:cubicBezTo>
                    <a:pt x="176176" y="286063"/>
                    <a:pt x="154343" y="294167"/>
                    <a:pt x="128095" y="294167"/>
                  </a:cubicBezTo>
                  <a:cubicBezTo>
                    <a:pt x="101847" y="294167"/>
                    <a:pt x="85639" y="276750"/>
                    <a:pt x="85639" y="250260"/>
                  </a:cubicBezTo>
                  <a:cubicBezTo>
                    <a:pt x="85639" y="216574"/>
                    <a:pt x="118056" y="198128"/>
                    <a:pt x="157428" y="191959"/>
                  </a:cubicBezTo>
                  <a:lnTo>
                    <a:pt x="196195" y="185064"/>
                  </a:lnTo>
                  <a:lnTo>
                    <a:pt x="196195" y="276689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orme libre : forme 50">
              <a:extLst>
                <a:ext uri="{FF2B5EF4-FFF2-40B4-BE49-F238E27FC236}">
                  <a16:creationId xmlns:a16="http://schemas.microsoft.com/office/drawing/2014/main" id="{AD5B789E-70A0-4225-A898-C1AA9A60748B}"/>
                </a:ext>
              </a:extLst>
            </p:cNvPr>
            <p:cNvSpPr/>
            <p:nvPr/>
          </p:nvSpPr>
          <p:spPr>
            <a:xfrm>
              <a:off x="4433371" y="1587304"/>
              <a:ext cx="259577" cy="354766"/>
            </a:xfrm>
            <a:custGeom>
              <a:avLst/>
              <a:gdLst>
                <a:gd name="connsiteX0" fmla="*/ 73301 w 259577"/>
                <a:gd name="connsiteY0" fmla="*/ 75477 h 354766"/>
                <a:gd name="connsiteX1" fmla="*/ 125737 w 259577"/>
                <a:gd name="connsiteY1" fmla="*/ 35501 h 354766"/>
                <a:gd name="connsiteX2" fmla="*/ 209319 w 259577"/>
                <a:gd name="connsiteY2" fmla="*/ 107349 h 354766"/>
                <a:gd name="connsiteX3" fmla="*/ 229943 w 259577"/>
                <a:gd name="connsiteY3" fmla="*/ 109224 h 354766"/>
                <a:gd name="connsiteX4" fmla="*/ 240526 w 259577"/>
                <a:gd name="connsiteY4" fmla="*/ 26187 h 354766"/>
                <a:gd name="connsiteX5" fmla="*/ 132027 w 259577"/>
                <a:gd name="connsiteY5" fmla="*/ 0 h 354766"/>
                <a:gd name="connsiteX6" fmla="*/ 303 w 259577"/>
                <a:gd name="connsiteY6" fmla="*/ 106805 h 354766"/>
                <a:gd name="connsiteX7" fmla="*/ 176539 w 259577"/>
                <a:gd name="connsiteY7" fmla="*/ 273544 h 354766"/>
                <a:gd name="connsiteX8" fmla="*/ 118237 w 259577"/>
                <a:gd name="connsiteY8" fmla="*/ 318540 h 354766"/>
                <a:gd name="connsiteX9" fmla="*/ 29937 w 259577"/>
                <a:gd name="connsiteY9" fmla="*/ 236108 h 354766"/>
                <a:gd name="connsiteX10" fmla="*/ 5625 w 259577"/>
                <a:gd name="connsiteY10" fmla="*/ 235503 h 354766"/>
                <a:gd name="connsiteX11" fmla="*/ 0 w 259577"/>
                <a:gd name="connsiteY11" fmla="*/ 327975 h 354766"/>
                <a:gd name="connsiteX12" fmla="*/ 117028 w 259577"/>
                <a:gd name="connsiteY12" fmla="*/ 354767 h 354766"/>
                <a:gd name="connsiteX13" fmla="*/ 259578 w 259577"/>
                <a:gd name="connsiteY13" fmla="*/ 242458 h 354766"/>
                <a:gd name="connsiteX14" fmla="*/ 73301 w 259577"/>
                <a:gd name="connsiteY14" fmla="*/ 75477 h 35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9577" h="354766">
                  <a:moveTo>
                    <a:pt x="73301" y="75477"/>
                  </a:moveTo>
                  <a:cubicBezTo>
                    <a:pt x="73301" y="51165"/>
                    <a:pt x="92050" y="35501"/>
                    <a:pt x="125737" y="35501"/>
                  </a:cubicBezTo>
                  <a:cubicBezTo>
                    <a:pt x="187063" y="35501"/>
                    <a:pt x="200550" y="69248"/>
                    <a:pt x="209319" y="107349"/>
                  </a:cubicBezTo>
                  <a:lnTo>
                    <a:pt x="229943" y="109224"/>
                  </a:lnTo>
                  <a:lnTo>
                    <a:pt x="240526" y="26187"/>
                  </a:lnTo>
                  <a:cubicBezTo>
                    <a:pt x="203755" y="7439"/>
                    <a:pt x="172245" y="0"/>
                    <a:pt x="132027" y="0"/>
                  </a:cubicBezTo>
                  <a:cubicBezTo>
                    <a:pt x="62112" y="0"/>
                    <a:pt x="303" y="41791"/>
                    <a:pt x="303" y="106805"/>
                  </a:cubicBezTo>
                  <a:cubicBezTo>
                    <a:pt x="303" y="223529"/>
                    <a:pt x="176539" y="215424"/>
                    <a:pt x="176539" y="273544"/>
                  </a:cubicBezTo>
                  <a:cubicBezTo>
                    <a:pt x="176539" y="302272"/>
                    <a:pt x="152650" y="318540"/>
                    <a:pt x="118237" y="318540"/>
                  </a:cubicBezTo>
                  <a:cubicBezTo>
                    <a:pt x="69793" y="318540"/>
                    <a:pt x="38042" y="284793"/>
                    <a:pt x="29937" y="236108"/>
                  </a:cubicBezTo>
                  <a:lnTo>
                    <a:pt x="5625" y="235503"/>
                  </a:lnTo>
                  <a:lnTo>
                    <a:pt x="0" y="327975"/>
                  </a:lnTo>
                  <a:cubicBezTo>
                    <a:pt x="37437" y="344788"/>
                    <a:pt x="72999" y="354767"/>
                    <a:pt x="117028" y="354767"/>
                  </a:cubicBezTo>
                  <a:cubicBezTo>
                    <a:pt x="181377" y="354767"/>
                    <a:pt x="259578" y="324286"/>
                    <a:pt x="259578" y="242458"/>
                  </a:cubicBezTo>
                  <a:cubicBezTo>
                    <a:pt x="259578" y="134202"/>
                    <a:pt x="73301" y="142366"/>
                    <a:pt x="73301" y="75477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orme libre : forme 51">
              <a:extLst>
                <a:ext uri="{FF2B5EF4-FFF2-40B4-BE49-F238E27FC236}">
                  <a16:creationId xmlns:a16="http://schemas.microsoft.com/office/drawing/2014/main" id="{8D775D14-6C6B-4879-AAD7-CA6122AA68EF}"/>
                </a:ext>
              </a:extLst>
            </p:cNvPr>
            <p:cNvSpPr/>
            <p:nvPr/>
          </p:nvSpPr>
          <p:spPr>
            <a:xfrm>
              <a:off x="4235725" y="1413609"/>
              <a:ext cx="100577" cy="100515"/>
            </a:xfrm>
            <a:custGeom>
              <a:avLst/>
              <a:gdLst>
                <a:gd name="connsiteX0" fmla="*/ 50379 w 100577"/>
                <a:gd name="connsiteY0" fmla="*/ 100515 h 100515"/>
                <a:gd name="connsiteX1" fmla="*/ 100577 w 100577"/>
                <a:gd name="connsiteY1" fmla="*/ 50258 h 100515"/>
                <a:gd name="connsiteX2" fmla="*/ 50379 w 100577"/>
                <a:gd name="connsiteY2" fmla="*/ 0 h 100515"/>
                <a:gd name="connsiteX3" fmla="*/ 0 w 100577"/>
                <a:gd name="connsiteY3" fmla="*/ 50258 h 100515"/>
                <a:gd name="connsiteX4" fmla="*/ 50379 w 100577"/>
                <a:gd name="connsiteY4" fmla="*/ 100515 h 1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77" h="100515">
                  <a:moveTo>
                    <a:pt x="50379" y="100515"/>
                  </a:moveTo>
                  <a:cubicBezTo>
                    <a:pt x="78200" y="100515"/>
                    <a:pt x="100577" y="78017"/>
                    <a:pt x="100577" y="50258"/>
                  </a:cubicBezTo>
                  <a:cubicBezTo>
                    <a:pt x="100577" y="22498"/>
                    <a:pt x="78139" y="0"/>
                    <a:pt x="50379" y="0"/>
                  </a:cubicBezTo>
                  <a:cubicBezTo>
                    <a:pt x="22619" y="0"/>
                    <a:pt x="0" y="22498"/>
                    <a:pt x="0" y="50258"/>
                  </a:cubicBezTo>
                  <a:cubicBezTo>
                    <a:pt x="61" y="78017"/>
                    <a:pt x="22619" y="100515"/>
                    <a:pt x="50379" y="100515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orme libre : forme 52">
              <a:extLst>
                <a:ext uri="{FF2B5EF4-FFF2-40B4-BE49-F238E27FC236}">
                  <a16:creationId xmlns:a16="http://schemas.microsoft.com/office/drawing/2014/main" id="{D6462DC3-7443-474B-A5F5-5F66BE47E7BF}"/>
                </a:ext>
              </a:extLst>
            </p:cNvPr>
            <p:cNvSpPr/>
            <p:nvPr/>
          </p:nvSpPr>
          <p:spPr>
            <a:xfrm>
              <a:off x="4748106" y="1586638"/>
              <a:ext cx="315036" cy="355311"/>
            </a:xfrm>
            <a:custGeom>
              <a:avLst/>
              <a:gdLst>
                <a:gd name="connsiteX0" fmla="*/ 314976 w 315036"/>
                <a:gd name="connsiteY0" fmla="*/ 162990 h 355311"/>
                <a:gd name="connsiteX1" fmla="*/ 174422 w 315036"/>
                <a:gd name="connsiteY1" fmla="*/ 0 h 355311"/>
                <a:gd name="connsiteX2" fmla="*/ 0 w 315036"/>
                <a:gd name="connsiteY2" fmla="*/ 189056 h 355311"/>
                <a:gd name="connsiteX3" fmla="*/ 175087 w 315036"/>
                <a:gd name="connsiteY3" fmla="*/ 355311 h 355311"/>
                <a:gd name="connsiteX4" fmla="*/ 310622 w 315036"/>
                <a:gd name="connsiteY4" fmla="*/ 299127 h 355311"/>
                <a:gd name="connsiteX5" fmla="*/ 301308 w 315036"/>
                <a:gd name="connsiteY5" fmla="*/ 277959 h 355311"/>
                <a:gd name="connsiteX6" fmla="*/ 206295 w 315036"/>
                <a:gd name="connsiteY6" fmla="*/ 290781 h 355311"/>
                <a:gd name="connsiteX7" fmla="*/ 88965 w 315036"/>
                <a:gd name="connsiteY7" fmla="*/ 177988 h 355311"/>
                <a:gd name="connsiteX8" fmla="*/ 315037 w 315036"/>
                <a:gd name="connsiteY8" fmla="*/ 177988 h 355311"/>
                <a:gd name="connsiteX9" fmla="*/ 315037 w 315036"/>
                <a:gd name="connsiteY9" fmla="*/ 162990 h 355311"/>
                <a:gd name="connsiteX10" fmla="*/ 88300 w 315036"/>
                <a:gd name="connsiteY10" fmla="*/ 144181 h 355311"/>
                <a:gd name="connsiteX11" fmla="*/ 160149 w 315036"/>
                <a:gd name="connsiteY11" fmla="*/ 36771 h 355311"/>
                <a:gd name="connsiteX12" fmla="*/ 223834 w 315036"/>
                <a:gd name="connsiteY12" fmla="*/ 144181 h 355311"/>
                <a:gd name="connsiteX13" fmla="*/ 88300 w 315036"/>
                <a:gd name="connsiteY13" fmla="*/ 144181 h 35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5036" h="355311">
                  <a:moveTo>
                    <a:pt x="314976" y="162990"/>
                  </a:moveTo>
                  <a:cubicBezTo>
                    <a:pt x="314976" y="74268"/>
                    <a:pt x="272520" y="0"/>
                    <a:pt x="174422" y="0"/>
                  </a:cubicBezTo>
                  <a:cubicBezTo>
                    <a:pt x="70700" y="0"/>
                    <a:pt x="0" y="90355"/>
                    <a:pt x="0" y="189056"/>
                  </a:cubicBezTo>
                  <a:cubicBezTo>
                    <a:pt x="0" y="290599"/>
                    <a:pt x="62052" y="355311"/>
                    <a:pt x="175087" y="355311"/>
                  </a:cubicBezTo>
                  <a:cubicBezTo>
                    <a:pt x="233208" y="355311"/>
                    <a:pt x="283769" y="330999"/>
                    <a:pt x="310622" y="299127"/>
                  </a:cubicBezTo>
                  <a:lnTo>
                    <a:pt x="301308" y="277959"/>
                  </a:lnTo>
                  <a:cubicBezTo>
                    <a:pt x="263811" y="286668"/>
                    <a:pt x="229459" y="290781"/>
                    <a:pt x="206295" y="290781"/>
                  </a:cubicBezTo>
                  <a:cubicBezTo>
                    <a:pt x="140735" y="290781"/>
                    <a:pt x="94589" y="262900"/>
                    <a:pt x="88965" y="177988"/>
                  </a:cubicBezTo>
                  <a:lnTo>
                    <a:pt x="315037" y="177988"/>
                  </a:lnTo>
                  <a:lnTo>
                    <a:pt x="315037" y="162990"/>
                  </a:lnTo>
                  <a:close/>
                  <a:moveTo>
                    <a:pt x="88300" y="144181"/>
                  </a:moveTo>
                  <a:cubicBezTo>
                    <a:pt x="90175" y="70518"/>
                    <a:pt x="120172" y="36771"/>
                    <a:pt x="160149" y="36771"/>
                  </a:cubicBezTo>
                  <a:cubicBezTo>
                    <a:pt x="206295" y="36771"/>
                    <a:pt x="223834" y="81102"/>
                    <a:pt x="223834" y="144181"/>
                  </a:cubicBezTo>
                  <a:lnTo>
                    <a:pt x="88300" y="144181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orme libre : forme 53">
              <a:extLst>
                <a:ext uri="{FF2B5EF4-FFF2-40B4-BE49-F238E27FC236}">
                  <a16:creationId xmlns:a16="http://schemas.microsoft.com/office/drawing/2014/main" id="{77E9C25D-647F-4955-8251-DE2187798099}"/>
                </a:ext>
              </a:extLst>
            </p:cNvPr>
            <p:cNvSpPr/>
            <p:nvPr/>
          </p:nvSpPr>
          <p:spPr>
            <a:xfrm>
              <a:off x="4187341" y="1588513"/>
              <a:ext cx="200549" cy="347811"/>
            </a:xfrm>
            <a:custGeom>
              <a:avLst/>
              <a:gdLst>
                <a:gd name="connsiteX0" fmla="*/ 143699 w 200549"/>
                <a:gd name="connsiteY0" fmla="*/ 292232 h 347811"/>
                <a:gd name="connsiteX1" fmla="*/ 142429 w 200549"/>
                <a:gd name="connsiteY1" fmla="*/ 177323 h 347811"/>
                <a:gd name="connsiteX2" fmla="*/ 142429 w 200549"/>
                <a:gd name="connsiteY2" fmla="*/ 27457 h 347811"/>
                <a:gd name="connsiteX3" fmla="*/ 113096 w 200549"/>
                <a:gd name="connsiteY3" fmla="*/ 0 h 347811"/>
                <a:gd name="connsiteX4" fmla="*/ 0 w 200549"/>
                <a:gd name="connsiteY4" fmla="*/ 13729 h 347811"/>
                <a:gd name="connsiteX5" fmla="*/ 0 w 200549"/>
                <a:gd name="connsiteY5" fmla="*/ 42456 h 347811"/>
                <a:gd name="connsiteX6" fmla="*/ 57455 w 200549"/>
                <a:gd name="connsiteY6" fmla="*/ 42456 h 347811"/>
                <a:gd name="connsiteX7" fmla="*/ 57455 w 200549"/>
                <a:gd name="connsiteY7" fmla="*/ 177323 h 347811"/>
                <a:gd name="connsiteX8" fmla="*/ 55641 w 200549"/>
                <a:gd name="connsiteY8" fmla="*/ 287878 h 347811"/>
                <a:gd name="connsiteX9" fmla="*/ 38767 w 200549"/>
                <a:gd name="connsiteY9" fmla="*/ 316000 h 347811"/>
                <a:gd name="connsiteX10" fmla="*/ 665 w 200549"/>
                <a:gd name="connsiteY10" fmla="*/ 327854 h 347811"/>
                <a:gd name="connsiteX11" fmla="*/ 3145 w 200549"/>
                <a:gd name="connsiteY11" fmla="*/ 347812 h 347811"/>
                <a:gd name="connsiteX12" fmla="*/ 196800 w 200549"/>
                <a:gd name="connsiteY12" fmla="*/ 347812 h 347811"/>
                <a:gd name="connsiteX13" fmla="*/ 200550 w 200549"/>
                <a:gd name="connsiteY13" fmla="*/ 325919 h 347811"/>
                <a:gd name="connsiteX14" fmla="*/ 154283 w 200549"/>
                <a:gd name="connsiteY14" fmla="*/ 314730 h 347811"/>
                <a:gd name="connsiteX15" fmla="*/ 143699 w 200549"/>
                <a:gd name="connsiteY15" fmla="*/ 292232 h 347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549" h="347811">
                  <a:moveTo>
                    <a:pt x="143699" y="292232"/>
                  </a:moveTo>
                  <a:lnTo>
                    <a:pt x="142429" y="177323"/>
                  </a:lnTo>
                  <a:lnTo>
                    <a:pt x="142429" y="27457"/>
                  </a:lnTo>
                  <a:cubicBezTo>
                    <a:pt x="142429" y="5564"/>
                    <a:pt x="132450" y="0"/>
                    <a:pt x="113096" y="0"/>
                  </a:cubicBezTo>
                  <a:cubicBezTo>
                    <a:pt x="83099" y="0"/>
                    <a:pt x="33748" y="6229"/>
                    <a:pt x="0" y="13729"/>
                  </a:cubicBezTo>
                  <a:lnTo>
                    <a:pt x="0" y="42456"/>
                  </a:lnTo>
                  <a:lnTo>
                    <a:pt x="57455" y="42456"/>
                  </a:lnTo>
                  <a:lnTo>
                    <a:pt x="57455" y="177323"/>
                  </a:lnTo>
                  <a:lnTo>
                    <a:pt x="55641" y="287878"/>
                  </a:lnTo>
                  <a:cubicBezTo>
                    <a:pt x="55641" y="301667"/>
                    <a:pt x="50017" y="312251"/>
                    <a:pt x="38767" y="316000"/>
                  </a:cubicBezTo>
                  <a:lnTo>
                    <a:pt x="665" y="327854"/>
                  </a:lnTo>
                  <a:cubicBezTo>
                    <a:pt x="665" y="335958"/>
                    <a:pt x="1935" y="339708"/>
                    <a:pt x="3145" y="347812"/>
                  </a:cubicBezTo>
                  <a:lnTo>
                    <a:pt x="196800" y="347812"/>
                  </a:lnTo>
                  <a:cubicBezTo>
                    <a:pt x="199945" y="339708"/>
                    <a:pt x="200550" y="332208"/>
                    <a:pt x="200550" y="325919"/>
                  </a:cubicBezTo>
                  <a:lnTo>
                    <a:pt x="154283" y="314730"/>
                  </a:lnTo>
                  <a:cubicBezTo>
                    <a:pt x="147509" y="312855"/>
                    <a:pt x="143699" y="308501"/>
                    <a:pt x="143699" y="292232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orme libre : forme 54">
              <a:extLst>
                <a:ext uri="{FF2B5EF4-FFF2-40B4-BE49-F238E27FC236}">
                  <a16:creationId xmlns:a16="http://schemas.microsoft.com/office/drawing/2014/main" id="{04C54A74-0184-4F84-95A2-B2A617429325}"/>
                </a:ext>
              </a:extLst>
            </p:cNvPr>
            <p:cNvSpPr/>
            <p:nvPr/>
          </p:nvSpPr>
          <p:spPr>
            <a:xfrm>
              <a:off x="3810132" y="1587848"/>
              <a:ext cx="338502" cy="354041"/>
            </a:xfrm>
            <a:custGeom>
              <a:avLst/>
              <a:gdLst>
                <a:gd name="connsiteX0" fmla="*/ 171157 w 338502"/>
                <a:gd name="connsiteY0" fmla="*/ 0 h 354041"/>
                <a:gd name="connsiteX1" fmla="*/ 0 w 338502"/>
                <a:gd name="connsiteY1" fmla="*/ 183613 h 354041"/>
                <a:gd name="connsiteX2" fmla="*/ 165532 w 338502"/>
                <a:gd name="connsiteY2" fmla="*/ 354041 h 354041"/>
                <a:gd name="connsiteX3" fmla="*/ 338503 w 338502"/>
                <a:gd name="connsiteY3" fmla="*/ 171094 h 354041"/>
                <a:gd name="connsiteX4" fmla="*/ 171157 w 338502"/>
                <a:gd name="connsiteY4" fmla="*/ 0 h 354041"/>
                <a:gd name="connsiteX5" fmla="*/ 175511 w 338502"/>
                <a:gd name="connsiteY5" fmla="*/ 314186 h 354041"/>
                <a:gd name="connsiteX6" fmla="*/ 90659 w 338502"/>
                <a:gd name="connsiteY6" fmla="*/ 171759 h 354041"/>
                <a:gd name="connsiteX7" fmla="*/ 166197 w 338502"/>
                <a:gd name="connsiteY7" fmla="*/ 38706 h 354041"/>
                <a:gd name="connsiteX8" fmla="*/ 246816 w 338502"/>
                <a:gd name="connsiteY8" fmla="*/ 183613 h 354041"/>
                <a:gd name="connsiteX9" fmla="*/ 175511 w 338502"/>
                <a:gd name="connsiteY9" fmla="*/ 314186 h 354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502" h="354041">
                  <a:moveTo>
                    <a:pt x="171157" y="0"/>
                  </a:moveTo>
                  <a:cubicBezTo>
                    <a:pt x="75599" y="0"/>
                    <a:pt x="0" y="92411"/>
                    <a:pt x="0" y="183613"/>
                  </a:cubicBezTo>
                  <a:cubicBezTo>
                    <a:pt x="0" y="302272"/>
                    <a:pt x="62475" y="354041"/>
                    <a:pt x="165532" y="354041"/>
                  </a:cubicBezTo>
                  <a:cubicBezTo>
                    <a:pt x="264234" y="354041"/>
                    <a:pt x="338503" y="261630"/>
                    <a:pt x="338503" y="171094"/>
                  </a:cubicBezTo>
                  <a:cubicBezTo>
                    <a:pt x="338563" y="54370"/>
                    <a:pt x="282318" y="0"/>
                    <a:pt x="171157" y="0"/>
                  </a:cubicBezTo>
                  <a:close/>
                  <a:moveTo>
                    <a:pt x="175511" y="314186"/>
                  </a:moveTo>
                  <a:cubicBezTo>
                    <a:pt x="108077" y="314186"/>
                    <a:pt x="90659" y="245482"/>
                    <a:pt x="90659" y="171759"/>
                  </a:cubicBezTo>
                  <a:cubicBezTo>
                    <a:pt x="90659" y="104325"/>
                    <a:pt x="107472" y="38706"/>
                    <a:pt x="166197" y="38706"/>
                  </a:cubicBezTo>
                  <a:cubicBezTo>
                    <a:pt x="232543" y="38706"/>
                    <a:pt x="246816" y="104930"/>
                    <a:pt x="246816" y="183613"/>
                  </a:cubicBezTo>
                  <a:cubicBezTo>
                    <a:pt x="246695" y="248567"/>
                    <a:pt x="235507" y="314186"/>
                    <a:pt x="175511" y="314186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orme libre : forme 55">
              <a:extLst>
                <a:ext uri="{FF2B5EF4-FFF2-40B4-BE49-F238E27FC236}">
                  <a16:creationId xmlns:a16="http://schemas.microsoft.com/office/drawing/2014/main" id="{FCE82134-0A32-4CBB-98CD-E93731C76CA5}"/>
                </a:ext>
              </a:extLst>
            </p:cNvPr>
            <p:cNvSpPr/>
            <p:nvPr/>
          </p:nvSpPr>
          <p:spPr>
            <a:xfrm>
              <a:off x="3416956" y="1396736"/>
              <a:ext cx="373520" cy="545213"/>
            </a:xfrm>
            <a:custGeom>
              <a:avLst/>
              <a:gdLst>
                <a:gd name="connsiteX0" fmla="*/ 317395 w 373520"/>
                <a:gd name="connsiteY0" fmla="*/ 493384 h 545213"/>
                <a:gd name="connsiteX1" fmla="*/ 314855 w 373520"/>
                <a:gd name="connsiteY1" fmla="*/ 365351 h 545213"/>
                <a:gd name="connsiteX2" fmla="*/ 314855 w 373520"/>
                <a:gd name="connsiteY2" fmla="*/ 31207 h 545213"/>
                <a:gd name="connsiteX3" fmla="*/ 282378 w 373520"/>
                <a:gd name="connsiteY3" fmla="*/ 0 h 545213"/>
                <a:gd name="connsiteX4" fmla="*/ 172426 w 373520"/>
                <a:gd name="connsiteY4" fmla="*/ 13184 h 545213"/>
                <a:gd name="connsiteX5" fmla="*/ 172426 w 373520"/>
                <a:gd name="connsiteY5" fmla="*/ 42516 h 545213"/>
                <a:gd name="connsiteX6" fmla="*/ 229882 w 373520"/>
                <a:gd name="connsiteY6" fmla="*/ 42516 h 545213"/>
                <a:gd name="connsiteX7" fmla="*/ 229882 w 373520"/>
                <a:gd name="connsiteY7" fmla="*/ 199216 h 545213"/>
                <a:gd name="connsiteX8" fmla="*/ 176176 w 373520"/>
                <a:gd name="connsiteY8" fmla="*/ 194862 h 545213"/>
                <a:gd name="connsiteX9" fmla="*/ 0 w 373520"/>
                <a:gd name="connsiteY9" fmla="*/ 382224 h 545213"/>
                <a:gd name="connsiteX10" fmla="*/ 134929 w 373520"/>
                <a:gd name="connsiteY10" fmla="*/ 545214 h 545213"/>
                <a:gd name="connsiteX11" fmla="*/ 229217 w 373520"/>
                <a:gd name="connsiteY11" fmla="*/ 497133 h 545213"/>
                <a:gd name="connsiteX12" fmla="*/ 269133 w 373520"/>
                <a:gd name="connsiteY12" fmla="*/ 545214 h 545213"/>
                <a:gd name="connsiteX13" fmla="*/ 373520 w 373520"/>
                <a:gd name="connsiteY13" fmla="*/ 514672 h 545213"/>
                <a:gd name="connsiteX14" fmla="*/ 369166 w 373520"/>
                <a:gd name="connsiteY14" fmla="*/ 493384 h 545213"/>
                <a:gd name="connsiteX15" fmla="*/ 317395 w 373520"/>
                <a:gd name="connsiteY15" fmla="*/ 493384 h 545213"/>
                <a:gd name="connsiteX16" fmla="*/ 229942 w 373520"/>
                <a:gd name="connsiteY16" fmla="*/ 364746 h 545213"/>
                <a:gd name="connsiteX17" fmla="*/ 228068 w 373520"/>
                <a:gd name="connsiteY17" fmla="*/ 470281 h 545213"/>
                <a:gd name="connsiteX18" fmla="*/ 170552 w 373520"/>
                <a:gd name="connsiteY18" fmla="*/ 483344 h 545213"/>
                <a:gd name="connsiteX19" fmla="*/ 90054 w 373520"/>
                <a:gd name="connsiteY19" fmla="*/ 369100 h 545213"/>
                <a:gd name="connsiteX20" fmla="*/ 178112 w 373520"/>
                <a:gd name="connsiteY20" fmla="*/ 232903 h 545213"/>
                <a:gd name="connsiteX21" fmla="*/ 229942 w 373520"/>
                <a:gd name="connsiteY21" fmla="*/ 242882 h 545213"/>
                <a:gd name="connsiteX22" fmla="*/ 229942 w 373520"/>
                <a:gd name="connsiteY22" fmla="*/ 364746 h 545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3520" h="545213">
                  <a:moveTo>
                    <a:pt x="317395" y="493384"/>
                  </a:moveTo>
                  <a:lnTo>
                    <a:pt x="314855" y="365351"/>
                  </a:lnTo>
                  <a:lnTo>
                    <a:pt x="314855" y="31207"/>
                  </a:lnTo>
                  <a:cubicBezTo>
                    <a:pt x="314855" y="6229"/>
                    <a:pt x="306086" y="0"/>
                    <a:pt x="282378" y="0"/>
                  </a:cubicBezTo>
                  <a:cubicBezTo>
                    <a:pt x="252985" y="0"/>
                    <a:pt x="206174" y="6229"/>
                    <a:pt x="172426" y="13184"/>
                  </a:cubicBezTo>
                  <a:lnTo>
                    <a:pt x="172426" y="42516"/>
                  </a:lnTo>
                  <a:lnTo>
                    <a:pt x="229882" y="42516"/>
                  </a:lnTo>
                  <a:lnTo>
                    <a:pt x="229882" y="199216"/>
                  </a:lnTo>
                  <a:cubicBezTo>
                    <a:pt x="214883" y="196676"/>
                    <a:pt x="199884" y="194862"/>
                    <a:pt x="176176" y="194862"/>
                  </a:cubicBezTo>
                  <a:cubicBezTo>
                    <a:pt x="78139" y="194862"/>
                    <a:pt x="0" y="267255"/>
                    <a:pt x="0" y="382224"/>
                  </a:cubicBezTo>
                  <a:cubicBezTo>
                    <a:pt x="0" y="513402"/>
                    <a:pt x="67495" y="545214"/>
                    <a:pt x="134929" y="545214"/>
                  </a:cubicBezTo>
                  <a:cubicBezTo>
                    <a:pt x="177386" y="545214"/>
                    <a:pt x="207988" y="520901"/>
                    <a:pt x="229217" y="497133"/>
                  </a:cubicBezTo>
                  <a:cubicBezTo>
                    <a:pt x="229217" y="520236"/>
                    <a:pt x="237381" y="545214"/>
                    <a:pt x="269133" y="545214"/>
                  </a:cubicBezTo>
                  <a:cubicBezTo>
                    <a:pt x="315400" y="545214"/>
                    <a:pt x="346667" y="529610"/>
                    <a:pt x="373520" y="514672"/>
                  </a:cubicBezTo>
                  <a:lnTo>
                    <a:pt x="369166" y="493384"/>
                  </a:lnTo>
                  <a:lnTo>
                    <a:pt x="317395" y="493384"/>
                  </a:lnTo>
                  <a:close/>
                  <a:moveTo>
                    <a:pt x="229942" y="364746"/>
                  </a:moveTo>
                  <a:lnTo>
                    <a:pt x="228068" y="470281"/>
                  </a:lnTo>
                  <a:cubicBezTo>
                    <a:pt x="212524" y="475301"/>
                    <a:pt x="193111" y="483344"/>
                    <a:pt x="170552" y="483344"/>
                  </a:cubicBezTo>
                  <a:cubicBezTo>
                    <a:pt x="123136" y="483344"/>
                    <a:pt x="90054" y="447783"/>
                    <a:pt x="90054" y="369100"/>
                  </a:cubicBezTo>
                  <a:cubicBezTo>
                    <a:pt x="90054" y="277234"/>
                    <a:pt x="113822" y="232903"/>
                    <a:pt x="178112" y="232903"/>
                  </a:cubicBezTo>
                  <a:cubicBezTo>
                    <a:pt x="202545" y="232903"/>
                    <a:pt x="216879" y="238588"/>
                    <a:pt x="229942" y="242882"/>
                  </a:cubicBezTo>
                  <a:lnTo>
                    <a:pt x="229942" y="364746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CB00B367-44E7-4283-B89B-9451314AB0EB}"/>
                </a:ext>
              </a:extLst>
            </p:cNvPr>
            <p:cNvSpPr/>
            <p:nvPr/>
          </p:nvSpPr>
          <p:spPr>
            <a:xfrm>
              <a:off x="2974610" y="1588453"/>
              <a:ext cx="413436" cy="353436"/>
            </a:xfrm>
            <a:custGeom>
              <a:avLst/>
              <a:gdLst>
                <a:gd name="connsiteX0" fmla="*/ 357856 w 413436"/>
                <a:gd name="connsiteY0" fmla="*/ 301667 h 353436"/>
                <a:gd name="connsiteX1" fmla="*/ 354711 w 413436"/>
                <a:gd name="connsiteY1" fmla="*/ 178049 h 353436"/>
                <a:gd name="connsiteX2" fmla="*/ 354711 w 413436"/>
                <a:gd name="connsiteY2" fmla="*/ 35017 h 353436"/>
                <a:gd name="connsiteX3" fmla="*/ 314795 w 413436"/>
                <a:gd name="connsiteY3" fmla="*/ 60 h 353436"/>
                <a:gd name="connsiteX4" fmla="*/ 217968 w 413436"/>
                <a:gd name="connsiteY4" fmla="*/ 16874 h 353436"/>
                <a:gd name="connsiteX5" fmla="*/ 217968 w 413436"/>
                <a:gd name="connsiteY5" fmla="*/ 41851 h 353436"/>
                <a:gd name="connsiteX6" fmla="*/ 269798 w 413436"/>
                <a:gd name="connsiteY6" fmla="*/ 41851 h 353436"/>
                <a:gd name="connsiteX7" fmla="*/ 269798 w 413436"/>
                <a:gd name="connsiteY7" fmla="*/ 177383 h 353436"/>
                <a:gd name="connsiteX8" fmla="*/ 267923 w 413436"/>
                <a:gd name="connsiteY8" fmla="*/ 271125 h 353436"/>
                <a:gd name="connsiteX9" fmla="*/ 186700 w 413436"/>
                <a:gd name="connsiteY9" fmla="*/ 291688 h 353436"/>
                <a:gd name="connsiteX10" fmla="*/ 138679 w 413436"/>
                <a:gd name="connsiteY10" fmla="*/ 225162 h 353436"/>
                <a:gd name="connsiteX11" fmla="*/ 138679 w 413436"/>
                <a:gd name="connsiteY11" fmla="*/ 34352 h 353436"/>
                <a:gd name="connsiteX12" fmla="*/ 99307 w 413436"/>
                <a:gd name="connsiteY12" fmla="*/ 0 h 353436"/>
                <a:gd name="connsiteX13" fmla="*/ 0 w 413436"/>
                <a:gd name="connsiteY13" fmla="*/ 16813 h 353436"/>
                <a:gd name="connsiteX14" fmla="*/ 0 w 413436"/>
                <a:gd name="connsiteY14" fmla="*/ 41791 h 353436"/>
                <a:gd name="connsiteX15" fmla="*/ 53101 w 413436"/>
                <a:gd name="connsiteY15" fmla="*/ 41791 h 353436"/>
                <a:gd name="connsiteX16" fmla="*/ 53101 w 413436"/>
                <a:gd name="connsiteY16" fmla="*/ 237862 h 353436"/>
                <a:gd name="connsiteX17" fmla="*/ 152408 w 413436"/>
                <a:gd name="connsiteY17" fmla="*/ 353436 h 353436"/>
                <a:gd name="connsiteX18" fmla="*/ 268528 w 413436"/>
                <a:gd name="connsiteY18" fmla="*/ 294772 h 353436"/>
                <a:gd name="connsiteX19" fmla="*/ 319754 w 413436"/>
                <a:gd name="connsiteY19" fmla="*/ 352166 h 353436"/>
                <a:gd name="connsiteX20" fmla="*/ 413437 w 413436"/>
                <a:gd name="connsiteY20" fmla="*/ 319085 h 353436"/>
                <a:gd name="connsiteX21" fmla="*/ 411562 w 413436"/>
                <a:gd name="connsiteY21" fmla="*/ 301606 h 353436"/>
                <a:gd name="connsiteX22" fmla="*/ 357856 w 413436"/>
                <a:gd name="connsiteY22" fmla="*/ 301606 h 35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3436" h="353436">
                  <a:moveTo>
                    <a:pt x="357856" y="301667"/>
                  </a:moveTo>
                  <a:lnTo>
                    <a:pt x="354711" y="178049"/>
                  </a:lnTo>
                  <a:lnTo>
                    <a:pt x="354711" y="35017"/>
                  </a:lnTo>
                  <a:cubicBezTo>
                    <a:pt x="354711" y="10644"/>
                    <a:pt x="339108" y="60"/>
                    <a:pt x="314795" y="60"/>
                  </a:cubicBezTo>
                  <a:cubicBezTo>
                    <a:pt x="284797" y="60"/>
                    <a:pt x="248510" y="8165"/>
                    <a:pt x="217968" y="16874"/>
                  </a:cubicBezTo>
                  <a:lnTo>
                    <a:pt x="217968" y="41851"/>
                  </a:lnTo>
                  <a:lnTo>
                    <a:pt x="269798" y="41851"/>
                  </a:lnTo>
                  <a:lnTo>
                    <a:pt x="269798" y="177383"/>
                  </a:lnTo>
                  <a:lnTo>
                    <a:pt x="267923" y="271125"/>
                  </a:lnTo>
                  <a:cubicBezTo>
                    <a:pt x="248510" y="279834"/>
                    <a:pt x="223048" y="291688"/>
                    <a:pt x="186700" y="291688"/>
                  </a:cubicBezTo>
                  <a:cubicBezTo>
                    <a:pt x="145090" y="291688"/>
                    <a:pt x="139344" y="261388"/>
                    <a:pt x="138679" y="225162"/>
                  </a:cubicBezTo>
                  <a:lnTo>
                    <a:pt x="138679" y="34352"/>
                  </a:lnTo>
                  <a:cubicBezTo>
                    <a:pt x="138679" y="10584"/>
                    <a:pt x="124950" y="0"/>
                    <a:pt x="99307" y="0"/>
                  </a:cubicBezTo>
                  <a:cubicBezTo>
                    <a:pt x="69975" y="0"/>
                    <a:pt x="34352" y="7499"/>
                    <a:pt x="0" y="16813"/>
                  </a:cubicBezTo>
                  <a:lnTo>
                    <a:pt x="0" y="41791"/>
                  </a:lnTo>
                  <a:lnTo>
                    <a:pt x="53101" y="41791"/>
                  </a:lnTo>
                  <a:lnTo>
                    <a:pt x="53101" y="237862"/>
                  </a:lnTo>
                  <a:cubicBezTo>
                    <a:pt x="53101" y="296587"/>
                    <a:pt x="59935" y="353436"/>
                    <a:pt x="152408" y="353436"/>
                  </a:cubicBezTo>
                  <a:cubicBezTo>
                    <a:pt x="201094" y="353436"/>
                    <a:pt x="236716" y="326040"/>
                    <a:pt x="268528" y="294772"/>
                  </a:cubicBezTo>
                  <a:cubicBezTo>
                    <a:pt x="269194" y="330999"/>
                    <a:pt x="286612" y="352166"/>
                    <a:pt x="319754" y="352166"/>
                  </a:cubicBezTo>
                  <a:cubicBezTo>
                    <a:pt x="360941" y="352166"/>
                    <a:pt x="390939" y="332874"/>
                    <a:pt x="413437" y="319085"/>
                  </a:cubicBezTo>
                  <a:lnTo>
                    <a:pt x="411562" y="301606"/>
                  </a:lnTo>
                  <a:lnTo>
                    <a:pt x="357856" y="301606"/>
                  </a:ln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orme libre : forme 57">
              <a:extLst>
                <a:ext uri="{FF2B5EF4-FFF2-40B4-BE49-F238E27FC236}">
                  <a16:creationId xmlns:a16="http://schemas.microsoft.com/office/drawing/2014/main" id="{E9572656-402E-46BF-8230-C5E5EAB338FB}"/>
                </a:ext>
              </a:extLst>
            </p:cNvPr>
            <p:cNvSpPr/>
            <p:nvPr/>
          </p:nvSpPr>
          <p:spPr>
            <a:xfrm>
              <a:off x="2256004" y="1595287"/>
              <a:ext cx="362442" cy="357851"/>
            </a:xfrm>
            <a:custGeom>
              <a:avLst/>
              <a:gdLst>
                <a:gd name="connsiteX0" fmla="*/ 254608 w 362442"/>
                <a:gd name="connsiteY0" fmla="*/ 21288 h 357851"/>
                <a:gd name="connsiteX1" fmla="*/ 283094 w 362442"/>
                <a:gd name="connsiteY1" fmla="*/ 30663 h 357851"/>
                <a:gd name="connsiteX2" fmla="*/ 296157 w 362442"/>
                <a:gd name="connsiteY2" fmla="*/ 50620 h 357851"/>
                <a:gd name="connsiteX3" fmla="*/ 292468 w 362442"/>
                <a:gd name="connsiteY3" fmla="*/ 69974 h 357851"/>
                <a:gd name="connsiteX4" fmla="*/ 211849 w 362442"/>
                <a:gd name="connsiteY4" fmla="*/ 274814 h 357851"/>
                <a:gd name="connsiteX5" fmla="*/ 124396 w 362442"/>
                <a:gd name="connsiteY5" fmla="*/ 0 h 357851"/>
                <a:gd name="connsiteX6" fmla="*/ 1320 w 362442"/>
                <a:gd name="connsiteY6" fmla="*/ 0 h 357851"/>
                <a:gd name="connsiteX7" fmla="*/ 1804 w 362442"/>
                <a:gd name="connsiteY7" fmla="*/ 24373 h 357851"/>
                <a:gd name="connsiteX8" fmla="*/ 51095 w 362442"/>
                <a:gd name="connsiteY8" fmla="*/ 59269 h 357851"/>
                <a:gd name="connsiteX9" fmla="*/ 156873 w 362442"/>
                <a:gd name="connsiteY9" fmla="*/ 357851 h 357851"/>
                <a:gd name="connsiteX10" fmla="*/ 219288 w 362442"/>
                <a:gd name="connsiteY10" fmla="*/ 339768 h 357851"/>
                <a:gd name="connsiteX11" fmla="*/ 328030 w 362442"/>
                <a:gd name="connsiteY11" fmla="*/ 79953 h 357851"/>
                <a:gd name="connsiteX12" fmla="*/ 361717 w 362442"/>
                <a:gd name="connsiteY12" fmla="*/ 15603 h 357851"/>
                <a:gd name="connsiteX13" fmla="*/ 362442 w 362442"/>
                <a:gd name="connsiteY13" fmla="*/ 0 h 357851"/>
                <a:gd name="connsiteX14" fmla="*/ 255273 w 362442"/>
                <a:gd name="connsiteY14" fmla="*/ 0 h 357851"/>
                <a:gd name="connsiteX15" fmla="*/ 254608 w 362442"/>
                <a:gd name="connsiteY15" fmla="*/ 21288 h 357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2442" h="357851">
                  <a:moveTo>
                    <a:pt x="254608" y="21288"/>
                  </a:moveTo>
                  <a:lnTo>
                    <a:pt x="283094" y="30663"/>
                  </a:lnTo>
                  <a:cubicBezTo>
                    <a:pt x="291198" y="33807"/>
                    <a:pt x="296157" y="40037"/>
                    <a:pt x="296157" y="50620"/>
                  </a:cubicBezTo>
                  <a:cubicBezTo>
                    <a:pt x="296157" y="56245"/>
                    <a:pt x="294947" y="62474"/>
                    <a:pt x="292468" y="69974"/>
                  </a:cubicBezTo>
                  <a:lnTo>
                    <a:pt x="211849" y="274814"/>
                  </a:lnTo>
                  <a:lnTo>
                    <a:pt x="124396" y="0"/>
                  </a:lnTo>
                  <a:lnTo>
                    <a:pt x="1320" y="0"/>
                  </a:lnTo>
                  <a:cubicBezTo>
                    <a:pt x="-1159" y="7499"/>
                    <a:pt x="353" y="18506"/>
                    <a:pt x="1804" y="24373"/>
                  </a:cubicBezTo>
                  <a:cubicBezTo>
                    <a:pt x="31076" y="34473"/>
                    <a:pt x="40692" y="32054"/>
                    <a:pt x="51095" y="59269"/>
                  </a:cubicBezTo>
                  <a:lnTo>
                    <a:pt x="156873" y="357851"/>
                  </a:lnTo>
                  <a:lnTo>
                    <a:pt x="219288" y="339768"/>
                  </a:lnTo>
                  <a:lnTo>
                    <a:pt x="328030" y="79953"/>
                  </a:lnTo>
                  <a:cubicBezTo>
                    <a:pt x="339279" y="51286"/>
                    <a:pt x="351133" y="27518"/>
                    <a:pt x="361717" y="15603"/>
                  </a:cubicBezTo>
                  <a:cubicBezTo>
                    <a:pt x="362442" y="13124"/>
                    <a:pt x="362442" y="2480"/>
                    <a:pt x="362442" y="0"/>
                  </a:cubicBezTo>
                  <a:lnTo>
                    <a:pt x="255273" y="0"/>
                  </a:lnTo>
                  <a:cubicBezTo>
                    <a:pt x="253398" y="7560"/>
                    <a:pt x="253398" y="13184"/>
                    <a:pt x="254608" y="21288"/>
                  </a:cubicBezTo>
                  <a:close/>
                </a:path>
              </a:pathLst>
            </a:custGeom>
            <a:grpFill/>
            <a:ln w="46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" name="Espace réservé de la date 1">
            <a:extLst>
              <a:ext uri="{FF2B5EF4-FFF2-40B4-BE49-F238E27FC236}">
                <a16:creationId xmlns:a16="http://schemas.microsoft.com/office/drawing/2014/main" id="{28387CA4-B63C-462E-909C-90DCD9EA6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166" y="3125028"/>
            <a:ext cx="1561944" cy="230832"/>
          </a:xfrm>
          <a:prstGeom prst="rect">
            <a:avLst/>
          </a:prstGeom>
          <a:solidFill>
            <a:schemeClr val="tx2"/>
          </a:solidFill>
          <a:ln w="19050" cap="sq">
            <a:noFill/>
            <a:miter lim="800000"/>
          </a:ln>
        </p:spPr>
        <p:txBody>
          <a:bodyPr vert="horz" wrap="none" lIns="108000" tIns="45720" rIns="72000" bIns="45720" rtlCol="0" anchor="ctr">
            <a:spAutoFit/>
          </a:bodyPr>
          <a:lstStyle>
            <a:lvl1pPr algn="ctr">
              <a:defRPr sz="900" cap="all" spc="600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AA5A938C-2DF6-40FE-A152-96664CE06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3338" y="3731413"/>
            <a:ext cx="10515600" cy="1421928"/>
          </a:xfrm>
        </p:spPr>
        <p:txBody>
          <a:bodyPr anchor="b">
            <a:spAutoFit/>
          </a:bodyPr>
          <a:lstStyle>
            <a:lvl1pPr algn="ctr">
              <a:lnSpc>
                <a:spcPct val="80000"/>
              </a:lnSpc>
              <a:defRPr sz="5400" cap="none" baseline="0">
                <a:solidFill>
                  <a:schemeClr val="accent2"/>
                </a:solidFill>
              </a:defRPr>
            </a:lvl1pPr>
          </a:lstStyle>
          <a:p>
            <a:r>
              <a:rPr lang="fr-FR"/>
              <a:t>Titre de la </a:t>
            </a:r>
            <a:br>
              <a:rPr lang="fr-FR"/>
            </a:br>
            <a:r>
              <a:rPr lang="fr-FR"/>
              <a:t>présentation</a:t>
            </a:r>
          </a:p>
        </p:txBody>
      </p:sp>
      <p:sp>
        <p:nvSpPr>
          <p:cNvPr id="59" name="Espace réservé du texte 58">
            <a:extLst>
              <a:ext uri="{FF2B5EF4-FFF2-40B4-BE49-F238E27FC236}">
                <a16:creationId xmlns:a16="http://schemas.microsoft.com/office/drawing/2014/main" id="{76166621-145F-4BD6-9E58-679F247784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3339" y="5444562"/>
            <a:ext cx="10515599" cy="3416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800" b="0" cap="all" spc="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err="1"/>
              <a:t>SOUS-titre</a:t>
            </a:r>
            <a:endParaRPr lang="fr-FR"/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F814FB9A-B967-4731-84CB-B71DD24533B5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080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815" y="419253"/>
            <a:ext cx="10903544" cy="1200329"/>
          </a:xfrm>
        </p:spPr>
        <p:txBody>
          <a:bodyPr wrap="square">
            <a:spAutoFit/>
          </a:bodyPr>
          <a:lstStyle>
            <a:lvl1pPr>
              <a:defRPr sz="8000"/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31D424F-534F-4D51-9F8C-DD58B373BA75}"/>
              </a:ext>
            </a:extLst>
          </p:cNvPr>
          <p:cNvCxnSpPr/>
          <p:nvPr userDrawn="1"/>
        </p:nvCxnSpPr>
        <p:spPr>
          <a:xfrm>
            <a:off x="899160" y="1752600"/>
            <a:ext cx="1066800" cy="0"/>
          </a:xfrm>
          <a:prstGeom prst="line">
            <a:avLst/>
          </a:prstGeom>
          <a:ln w="44450" cap="rnd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B08AB5F-CA68-4DAB-AE3F-6151A537FA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5" y="2545226"/>
            <a:ext cx="10845800" cy="2942344"/>
          </a:xfrm>
        </p:spPr>
        <p:txBody>
          <a:bodyPr numCol="3">
            <a:spAutoFit/>
          </a:bodyPr>
          <a:lstStyle>
            <a:lvl1pPr marL="342900" indent="-342900">
              <a:lnSpc>
                <a:spcPct val="80000"/>
              </a:lnSpc>
              <a:spcBef>
                <a:spcPts val="4200"/>
              </a:spcBef>
              <a:buClr>
                <a:schemeClr val="accent4"/>
              </a:buClr>
              <a:buFont typeface="+mj-lt"/>
              <a:buAutoNum type="arabicPeriod"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marL="342900" marR="0" lvl="0" indent="-342900" algn="l" defTabSz="914400" rtl="0" eaLnBrk="1" fontAlgn="auto" latinLnBrk="0" hangingPunct="1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>
                <a:srgbClr val="E76E91"/>
              </a:buClr>
              <a:buSzTx/>
              <a:buFont typeface="+mj-lt"/>
              <a:buAutoNum type="arabicPeriod"/>
              <a:tabLst/>
              <a:defRPr/>
            </a:pPr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16" name="Espace réservé du pied de page 11">
            <a:extLst>
              <a:ext uri="{FF2B5EF4-FFF2-40B4-BE49-F238E27FC236}">
                <a16:creationId xmlns:a16="http://schemas.microsoft.com/office/drawing/2014/main" id="{8980C7E5-2E4C-4C2A-8864-A388EE096EB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BACBD779-045A-46C2-860A-6C20CD0ED8E7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12D1BF3C-E443-4EDF-B7F2-2D943DE7A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5775697-8F60-47D2-986B-2164FF29AF73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4060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3159F8CA-B1D2-4834-8C43-FDADE2EB3CBE}"/>
              </a:ext>
            </a:extLst>
          </p:cNvPr>
          <p:cNvSpPr/>
          <p:nvPr userDrawn="1"/>
        </p:nvSpPr>
        <p:spPr>
          <a:xfrm>
            <a:off x="0" y="169629"/>
            <a:ext cx="12192000" cy="2973055"/>
          </a:xfrm>
          <a:custGeom>
            <a:avLst/>
            <a:gdLst>
              <a:gd name="connsiteX0" fmla="*/ 0 w 12192000"/>
              <a:gd name="connsiteY0" fmla="*/ 0 h 2973055"/>
              <a:gd name="connsiteX1" fmla="*/ 12192000 w 12192000"/>
              <a:gd name="connsiteY1" fmla="*/ 0 h 2973055"/>
              <a:gd name="connsiteX2" fmla="*/ 12192000 w 12192000"/>
              <a:gd name="connsiteY2" fmla="*/ 1970940 h 2973055"/>
              <a:gd name="connsiteX3" fmla="*/ 11613657 w 12192000"/>
              <a:gd name="connsiteY3" fmla="*/ 2169557 h 2973055"/>
              <a:gd name="connsiteX4" fmla="*/ 6096002 w 12192000"/>
              <a:gd name="connsiteY4" fmla="*/ 2973055 h 2973055"/>
              <a:gd name="connsiteX5" fmla="*/ 578350 w 12192000"/>
              <a:gd name="connsiteY5" fmla="*/ 2169557 h 2973055"/>
              <a:gd name="connsiteX6" fmla="*/ 0 w 12192000"/>
              <a:gd name="connsiteY6" fmla="*/ 1970938 h 297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973055">
                <a:moveTo>
                  <a:pt x="0" y="0"/>
                </a:moveTo>
                <a:lnTo>
                  <a:pt x="12192000" y="0"/>
                </a:lnTo>
                <a:lnTo>
                  <a:pt x="12192000" y="1970940"/>
                </a:lnTo>
                <a:lnTo>
                  <a:pt x="11613657" y="2169557"/>
                </a:lnTo>
                <a:cubicBezTo>
                  <a:pt x="10017180" y="2678470"/>
                  <a:pt x="8124867" y="2973055"/>
                  <a:pt x="6096002" y="2973055"/>
                </a:cubicBezTo>
                <a:cubicBezTo>
                  <a:pt x="4067139" y="2973055"/>
                  <a:pt x="2174827" y="2678470"/>
                  <a:pt x="578350" y="2169557"/>
                </a:cubicBezTo>
                <a:lnTo>
                  <a:pt x="0" y="1970938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815" y="419253"/>
            <a:ext cx="10903544" cy="1200329"/>
          </a:xfrm>
        </p:spPr>
        <p:txBody>
          <a:bodyPr wrap="square">
            <a:spAutoFit/>
          </a:bodyPr>
          <a:lstStyle>
            <a:lvl1pPr algn="ctr">
              <a:defRPr sz="8000">
                <a:solidFill>
                  <a:schemeClr val="accent2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31D424F-534F-4D51-9F8C-DD58B373BA75}"/>
              </a:ext>
            </a:extLst>
          </p:cNvPr>
          <p:cNvCxnSpPr>
            <a:cxnSpLocks/>
          </p:cNvCxnSpPr>
          <p:nvPr userDrawn="1"/>
        </p:nvCxnSpPr>
        <p:spPr>
          <a:xfrm>
            <a:off x="5562600" y="1752600"/>
            <a:ext cx="1066800" cy="0"/>
          </a:xfrm>
          <a:prstGeom prst="line">
            <a:avLst/>
          </a:prstGeom>
          <a:ln w="44450" cap="rnd">
            <a:solidFill>
              <a:srgbClr val="88C6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110631CE-B77E-42E7-8637-0B34150970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7868" y="3583599"/>
            <a:ext cx="3163748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EE42027-A9D6-4CE4-B415-9A6501E3A819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729822" y="224599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72DA86B7-AFD6-4FBD-AC9E-67EC65115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14127" y="4103516"/>
            <a:ext cx="3163748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55348499-EC8D-4008-8C06-5F124563520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696081" y="2765915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91A3C98-AAAC-42F9-B870-771A938E6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80385" y="3583599"/>
            <a:ext cx="3163748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E77DB212-B1F9-44A2-92B1-2D6FF44946AB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9662339" y="224599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27" name="Espace réservé du pied de page 11">
            <a:extLst>
              <a:ext uri="{FF2B5EF4-FFF2-40B4-BE49-F238E27FC236}">
                <a16:creationId xmlns:a16="http://schemas.microsoft.com/office/drawing/2014/main" id="{9F4F5A9A-CCC0-4BB1-A463-3E87E56C52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F2EA577-E856-43D0-B334-CAAF4EA110E2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81C7939-6FC8-4334-B8CD-B155BD1B0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ED46697-43F2-4467-A9C6-705324F263EA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5847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3159F8CA-B1D2-4834-8C43-FDADE2EB3CBE}"/>
              </a:ext>
            </a:extLst>
          </p:cNvPr>
          <p:cNvSpPr/>
          <p:nvPr userDrawn="1"/>
        </p:nvSpPr>
        <p:spPr>
          <a:xfrm>
            <a:off x="0" y="182619"/>
            <a:ext cx="12192000" cy="2973055"/>
          </a:xfrm>
          <a:custGeom>
            <a:avLst/>
            <a:gdLst>
              <a:gd name="connsiteX0" fmla="*/ 0 w 12192000"/>
              <a:gd name="connsiteY0" fmla="*/ 0 h 2973055"/>
              <a:gd name="connsiteX1" fmla="*/ 12192000 w 12192000"/>
              <a:gd name="connsiteY1" fmla="*/ 0 h 2973055"/>
              <a:gd name="connsiteX2" fmla="*/ 12192000 w 12192000"/>
              <a:gd name="connsiteY2" fmla="*/ 1970940 h 2973055"/>
              <a:gd name="connsiteX3" fmla="*/ 11613657 w 12192000"/>
              <a:gd name="connsiteY3" fmla="*/ 2169557 h 2973055"/>
              <a:gd name="connsiteX4" fmla="*/ 6096002 w 12192000"/>
              <a:gd name="connsiteY4" fmla="*/ 2973055 h 2973055"/>
              <a:gd name="connsiteX5" fmla="*/ 578350 w 12192000"/>
              <a:gd name="connsiteY5" fmla="*/ 2169557 h 2973055"/>
              <a:gd name="connsiteX6" fmla="*/ 0 w 12192000"/>
              <a:gd name="connsiteY6" fmla="*/ 1970938 h 297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973055">
                <a:moveTo>
                  <a:pt x="0" y="0"/>
                </a:moveTo>
                <a:lnTo>
                  <a:pt x="12192000" y="0"/>
                </a:lnTo>
                <a:lnTo>
                  <a:pt x="12192000" y="1970940"/>
                </a:lnTo>
                <a:lnTo>
                  <a:pt x="11613657" y="2169557"/>
                </a:lnTo>
                <a:cubicBezTo>
                  <a:pt x="10017180" y="2678470"/>
                  <a:pt x="8124867" y="2973055"/>
                  <a:pt x="6096002" y="2973055"/>
                </a:cubicBezTo>
                <a:cubicBezTo>
                  <a:pt x="4067139" y="2973055"/>
                  <a:pt x="2174827" y="2678470"/>
                  <a:pt x="578350" y="2169557"/>
                </a:cubicBezTo>
                <a:lnTo>
                  <a:pt x="0" y="1970938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815" y="419253"/>
            <a:ext cx="10903544" cy="1200329"/>
          </a:xfrm>
        </p:spPr>
        <p:txBody>
          <a:bodyPr wrap="square">
            <a:spAutoFit/>
          </a:bodyPr>
          <a:lstStyle>
            <a:lvl1pPr algn="ctr">
              <a:defRPr sz="8000">
                <a:solidFill>
                  <a:schemeClr val="accent2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31D424F-534F-4D51-9F8C-DD58B373BA75}"/>
              </a:ext>
            </a:extLst>
          </p:cNvPr>
          <p:cNvCxnSpPr>
            <a:cxnSpLocks/>
          </p:cNvCxnSpPr>
          <p:nvPr userDrawn="1"/>
        </p:nvCxnSpPr>
        <p:spPr>
          <a:xfrm>
            <a:off x="5562600" y="1752600"/>
            <a:ext cx="1066800" cy="0"/>
          </a:xfrm>
          <a:prstGeom prst="line">
            <a:avLst/>
          </a:prstGeom>
          <a:ln w="44450" cap="rnd">
            <a:solidFill>
              <a:srgbClr val="88C6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110631CE-B77E-42E7-8637-0B34150970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698" y="3583599"/>
            <a:ext cx="2675040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EE42027-A9D6-4CE4-B415-9A6501E3A819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381298" y="224599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72DA86B7-AFD6-4FBD-AC9E-67EC65115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0220" y="4103516"/>
            <a:ext cx="2675040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55348499-EC8D-4008-8C06-5F124563520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257821" y="2765915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91A3C98-AAAC-42F9-B870-771A938E6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73264" y="3583599"/>
            <a:ext cx="2675040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E77DB212-B1F9-44A2-92B1-2D6FF44946AB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10010864" y="2245998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0336DE08-8C03-406B-AFB0-3686759C3C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6742" y="4103516"/>
            <a:ext cx="2675040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34AD3FE-4AFD-4DF2-A5D3-19D4D433F0C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7134343" y="2765915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29" name="Espace réservé du pied de page 11">
            <a:extLst>
              <a:ext uri="{FF2B5EF4-FFF2-40B4-BE49-F238E27FC236}">
                <a16:creationId xmlns:a16="http://schemas.microsoft.com/office/drawing/2014/main" id="{F9BD6D3E-9007-4F7C-A919-AEBEE85E4B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FEA455FD-0AA8-44C8-94B4-83233E8DDC29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B7A32E6B-61CF-4EC9-A9FF-78F042AF0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6270D6F-651B-4D68-A813-35A719EF1D1C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3050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3159F8CA-B1D2-4834-8C43-FDADE2EB3CBE}"/>
              </a:ext>
            </a:extLst>
          </p:cNvPr>
          <p:cNvSpPr/>
          <p:nvPr userDrawn="1"/>
        </p:nvSpPr>
        <p:spPr>
          <a:xfrm>
            <a:off x="0" y="182619"/>
            <a:ext cx="12192000" cy="2973055"/>
          </a:xfrm>
          <a:custGeom>
            <a:avLst/>
            <a:gdLst>
              <a:gd name="connsiteX0" fmla="*/ 0 w 12192000"/>
              <a:gd name="connsiteY0" fmla="*/ 0 h 2973055"/>
              <a:gd name="connsiteX1" fmla="*/ 12192000 w 12192000"/>
              <a:gd name="connsiteY1" fmla="*/ 0 h 2973055"/>
              <a:gd name="connsiteX2" fmla="*/ 12192000 w 12192000"/>
              <a:gd name="connsiteY2" fmla="*/ 1970940 h 2973055"/>
              <a:gd name="connsiteX3" fmla="*/ 11613657 w 12192000"/>
              <a:gd name="connsiteY3" fmla="*/ 2169557 h 2973055"/>
              <a:gd name="connsiteX4" fmla="*/ 6096002 w 12192000"/>
              <a:gd name="connsiteY4" fmla="*/ 2973055 h 2973055"/>
              <a:gd name="connsiteX5" fmla="*/ 578350 w 12192000"/>
              <a:gd name="connsiteY5" fmla="*/ 2169557 h 2973055"/>
              <a:gd name="connsiteX6" fmla="*/ 0 w 12192000"/>
              <a:gd name="connsiteY6" fmla="*/ 1970938 h 297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973055">
                <a:moveTo>
                  <a:pt x="0" y="0"/>
                </a:moveTo>
                <a:lnTo>
                  <a:pt x="12192000" y="0"/>
                </a:lnTo>
                <a:lnTo>
                  <a:pt x="12192000" y="1970940"/>
                </a:lnTo>
                <a:lnTo>
                  <a:pt x="11613657" y="2169557"/>
                </a:lnTo>
                <a:cubicBezTo>
                  <a:pt x="10017180" y="2678470"/>
                  <a:pt x="8124867" y="2973055"/>
                  <a:pt x="6096002" y="2973055"/>
                </a:cubicBezTo>
                <a:cubicBezTo>
                  <a:pt x="4067139" y="2973055"/>
                  <a:pt x="2174827" y="2678470"/>
                  <a:pt x="578350" y="2169557"/>
                </a:cubicBezTo>
                <a:lnTo>
                  <a:pt x="0" y="1970938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19AE3560-2D63-4927-9242-F6412E9EDA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9815" y="419253"/>
            <a:ext cx="10903544" cy="1200329"/>
          </a:xfrm>
        </p:spPr>
        <p:txBody>
          <a:bodyPr wrap="square">
            <a:spAutoFit/>
          </a:bodyPr>
          <a:lstStyle>
            <a:lvl1pPr algn="ctr">
              <a:defRPr sz="8000">
                <a:solidFill>
                  <a:schemeClr val="accent2"/>
                </a:solidFill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DDE3CA62-F1B1-420F-BB19-0A8B305D395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4A675E3D-A7D6-421B-AB14-910B9C6D78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28D1851B-6641-4EBA-817A-499584DB871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frame">
            <a:avLst>
              <a:gd name="adj1" fmla="val 26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31D424F-534F-4D51-9F8C-DD58B373BA75}"/>
              </a:ext>
            </a:extLst>
          </p:cNvPr>
          <p:cNvCxnSpPr>
            <a:cxnSpLocks/>
          </p:cNvCxnSpPr>
          <p:nvPr userDrawn="1"/>
        </p:nvCxnSpPr>
        <p:spPr>
          <a:xfrm>
            <a:off x="5562600" y="1752600"/>
            <a:ext cx="1066800" cy="0"/>
          </a:xfrm>
          <a:prstGeom prst="line">
            <a:avLst/>
          </a:prstGeom>
          <a:ln w="44450" cap="rnd">
            <a:solidFill>
              <a:srgbClr val="88C6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110631CE-B77E-42E7-8637-0B34150970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7811" y="3388360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EE42027-A9D6-4CE4-B415-9A6501E3A819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862563" y="2050759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72DA86B7-AFD6-4FBD-AC9E-67EC65115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59558" y="4001916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55348499-EC8D-4008-8C06-5F124563520A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279322" y="2556664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91A3C98-AAAC-42F9-B870-771A938E62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9833" y="3388360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E77DB212-B1F9-44A2-92B1-2D6FF44946AB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10504585" y="2050759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5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0336DE08-8C03-406B-AFB0-3686759C3C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77735" y="4001916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34AD3FE-4AFD-4DF2-A5D3-19D4D433F0C2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100333" y="2556664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A6F9179B-12D8-4A84-816D-762A36BFA5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1329" y="4103516"/>
            <a:ext cx="2189343" cy="683264"/>
          </a:xfrm>
        </p:spPr>
        <p:txBody>
          <a:bodyPr wrap="square" numCol="1" anchor="t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E76E91"/>
              </a:buClr>
              <a:buFont typeface="+mj-lt"/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46BC1F5-C041-4474-9381-9F1085409B07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5696081" y="2765915"/>
            <a:ext cx="799838" cy="799838"/>
          </a:xfrm>
          <a:prstGeom prst="ellipse">
            <a:avLst/>
          </a:prstGeom>
          <a:solidFill>
            <a:schemeClr val="accent2"/>
          </a:solidFill>
          <a:ln w="50800">
            <a:solidFill>
              <a:schemeClr val="bg1"/>
            </a:solidFill>
          </a:ln>
          <a:effectLst>
            <a:outerShdw dist="38100" dir="5400000" sx="102000" sy="102000" algn="t" rotWithShape="0">
              <a:prstClr val="black">
                <a:alpha val="10000"/>
              </a:prstClr>
            </a:outerShdw>
          </a:effectLst>
        </p:spPr>
        <p:txBody>
          <a:bodyPr wrap="none" tIns="72000" rIns="36000" numCol="1" anchor="ctr">
            <a:noAutofit/>
          </a:bodyPr>
          <a:lstStyle>
            <a:lvl1pPr marL="0" indent="0" algn="ctr">
              <a:lnSpc>
                <a:spcPct val="80000"/>
              </a:lnSpc>
              <a:spcBef>
                <a:spcPts val="4200"/>
              </a:spcBef>
              <a:buClr>
                <a:srgbClr val="E76E91"/>
              </a:buClr>
              <a:buFont typeface="+mj-lt"/>
              <a:buNone/>
              <a:defRPr sz="2800" b="0" spc="-100" baseline="0">
                <a:solidFill>
                  <a:schemeClr val="bg1"/>
                </a:solidFill>
                <a:latin typeface="+mj-lt"/>
              </a:defRPr>
            </a:lvl1pPr>
            <a:lvl2pPr marL="269875" indent="0">
              <a:buNone/>
              <a:defRPr/>
            </a:lvl2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31" name="Espace réservé du pied de page 11">
            <a:extLst>
              <a:ext uri="{FF2B5EF4-FFF2-40B4-BE49-F238E27FC236}">
                <a16:creationId xmlns:a16="http://schemas.microsoft.com/office/drawing/2014/main" id="{210AD4E7-B533-431E-8348-C78CAE88A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97689" y="6248401"/>
            <a:ext cx="4114800" cy="210634"/>
          </a:xfrm>
        </p:spPr>
        <p:txBody>
          <a:bodyPr/>
          <a:lstStyle/>
          <a:p>
            <a:r>
              <a:rPr lang="fr-FR"/>
              <a:t>SCA Transversal 7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15237833-143E-474B-87A0-2074F45FCA74}"/>
              </a:ext>
            </a:extLst>
          </p:cNvPr>
          <p:cNvGrpSpPr/>
          <p:nvPr userDrawn="1"/>
        </p:nvGrpSpPr>
        <p:grpSpPr>
          <a:xfrm>
            <a:off x="12421537" y="4560451"/>
            <a:ext cx="1885826" cy="2297549"/>
            <a:chOff x="2689543" y="1651754"/>
            <a:chExt cx="1885826" cy="229754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EEF279A-D514-4D19-9D66-5FC030EBE4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4203052-6345-496F-B9B8-657672AA679E}"/>
                </a:ext>
              </a:extLst>
            </p:cNvPr>
            <p:cNvSpPr/>
            <p:nvPr/>
          </p:nvSpPr>
          <p:spPr>
            <a:xfrm>
              <a:off x="2689543" y="2010311"/>
              <a:ext cx="1885826" cy="193899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our changer le pied</a:t>
              </a:r>
              <a:b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page 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insérer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r sur « en-tête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t 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électionner « Numéro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 diapositiv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Écrire le texte souhaité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ns la case « Pied de page »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liquez sur </a:t>
              </a:r>
              <a:b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« Appliquer partout 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9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A2AC34D-1B06-43E6-8074-30E84DC22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2416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92" imgH="591" progId="TCLayout.ActiveDocument.1">
                  <p:embed/>
                </p:oleObj>
              </mc:Choice>
              <mc:Fallback>
                <p:oleObj name="think-cell Slide" r:id="rId2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A2AC34D-1B06-43E6-8074-30E84DC22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82FA56-F2E2-4F5E-971A-899C9048D0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4480" y="1513839"/>
            <a:ext cx="11358881" cy="428792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ici pour insérez votre texte de niveau 01, police Arial, corps 16, gras</a:t>
            </a:r>
          </a:p>
          <a:p>
            <a:pPr lvl="1"/>
            <a:r>
              <a:rPr lang="fr-FR"/>
              <a:t>Cliquez ici pour insérer votre texte de niveau 02, police Arial, corps 14, sans gras</a:t>
            </a:r>
          </a:p>
          <a:p>
            <a:pPr lvl="2"/>
            <a:r>
              <a:rPr lang="fr-FR"/>
              <a:t>Cliquez ici pour insérer votre texte de niveau 03, police Arial, corps 12, sans gras</a:t>
            </a:r>
          </a:p>
          <a:p>
            <a:pPr lvl="3"/>
            <a:r>
              <a:rPr lang="fr-FR"/>
              <a:t>Cliquez ici pour insérer votre texte de niveau 04, police Arial, corps 11, sans gra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570529-D268-4CD7-9514-E124DB07B4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8447" y="6228668"/>
            <a:ext cx="520337" cy="250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E1BF679-C1E6-4F59-A2D5-EB1C7BD6D02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4" name="Espace réservé du titre 10">
            <a:extLst>
              <a:ext uri="{FF2B5EF4-FFF2-40B4-BE49-F238E27FC236}">
                <a16:creationId xmlns:a16="http://schemas.microsoft.com/office/drawing/2014/main" id="{C5764CC7-D34F-4D93-9A54-5B97ACAE8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19253"/>
            <a:ext cx="11262360" cy="438538"/>
          </a:xfrm>
          <a:prstGeom prst="rect">
            <a:avLst/>
          </a:prstGeom>
        </p:spPr>
        <p:txBody>
          <a:bodyPr vert="horz" anchor="t"/>
          <a:lstStyle/>
          <a:p>
            <a:pPr marL="0" lvl="0"/>
            <a:r>
              <a:rPr lang="fr-FR"/>
              <a:t>Titre de la slid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379338C-25E2-443D-B548-E89FEF60BF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1963" y="6245995"/>
            <a:ext cx="1088760" cy="215444"/>
          </a:xfrm>
          <a:prstGeom prst="rect">
            <a:avLst/>
          </a:prstGeom>
          <a:noFill/>
          <a:ln w="19050" cap="sq">
            <a:noFill/>
            <a:miter lim="800000"/>
          </a:ln>
        </p:spPr>
        <p:txBody>
          <a:bodyPr vert="horz" wrap="none" lIns="91440" tIns="45720" rIns="91440" bIns="45720" rtlCol="0" anchor="ctr">
            <a:spAutoFit/>
          </a:bodyPr>
          <a:lstStyle>
            <a:lvl1pPr algn="ctr">
              <a:defRPr sz="800" cap="all" spc="300" baseline="0">
                <a:solidFill>
                  <a:schemeClr val="tx1"/>
                </a:solidFill>
                <a:latin typeface="+mn-lt"/>
                <a:cs typeface="Segoe UI Semibold" panose="020B0702040204020203" pitchFamily="34" charset="0"/>
              </a:defRPr>
            </a:lvl1pPr>
          </a:lstStyle>
          <a:p>
            <a:r>
              <a:rPr lang="fr-FR"/>
              <a:t>21/10/2022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50C098A-D290-4D5D-B99C-E49B65B9AA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7689" y="617115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cap="all" spc="300" baseline="0">
                <a:solidFill>
                  <a:schemeClr val="tx1"/>
                </a:solidFill>
              </a:defRPr>
            </a:lvl1pPr>
          </a:lstStyle>
          <a:p>
            <a:r>
              <a:rPr lang="fr-FR"/>
              <a:t>SCA Transversal 7</a:t>
            </a:r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809DEBE8-5F6C-4978-8C86-434594767938}"/>
              </a:ext>
            </a:extLst>
          </p:cNvPr>
          <p:cNvSpPr/>
          <p:nvPr/>
        </p:nvSpPr>
        <p:spPr>
          <a:xfrm>
            <a:off x="11450144" y="6127960"/>
            <a:ext cx="366436" cy="428233"/>
          </a:xfrm>
          <a:custGeom>
            <a:avLst/>
            <a:gdLst>
              <a:gd name="connsiteX0" fmla="*/ 363610 w 366436"/>
              <a:gd name="connsiteY0" fmla="*/ 50999 h 428233"/>
              <a:gd name="connsiteX1" fmla="*/ 351553 w 366436"/>
              <a:gd name="connsiteY1" fmla="*/ 13496 h 428233"/>
              <a:gd name="connsiteX2" fmla="*/ 329254 w 366436"/>
              <a:gd name="connsiteY2" fmla="*/ 0 h 428233"/>
              <a:gd name="connsiteX3" fmla="*/ 284257 w 366436"/>
              <a:gd name="connsiteY3" fmla="*/ 32648 h 428233"/>
              <a:gd name="connsiteX4" fmla="*/ 190527 w 366436"/>
              <a:gd name="connsiteY4" fmla="*/ 220185 h 428233"/>
              <a:gd name="connsiteX5" fmla="*/ 100825 w 366436"/>
              <a:gd name="connsiteY5" fmla="*/ 164625 h 428233"/>
              <a:gd name="connsiteX6" fmla="*/ 64896 w 366436"/>
              <a:gd name="connsiteY6" fmla="*/ 171587 h 428233"/>
              <a:gd name="connsiteX7" fmla="*/ 0 w 366436"/>
              <a:gd name="connsiteY7" fmla="*/ 265342 h 428233"/>
              <a:gd name="connsiteX8" fmla="*/ 85781 w 366436"/>
              <a:gd name="connsiteY8" fmla="*/ 360271 h 428233"/>
              <a:gd name="connsiteX9" fmla="*/ 87302 w 366436"/>
              <a:gd name="connsiteY9" fmla="*/ 360298 h 428233"/>
              <a:gd name="connsiteX10" fmla="*/ 124991 w 366436"/>
              <a:gd name="connsiteY10" fmla="*/ 350696 h 428233"/>
              <a:gd name="connsiteX11" fmla="*/ 149317 w 366436"/>
              <a:gd name="connsiteY11" fmla="*/ 330477 h 428233"/>
              <a:gd name="connsiteX12" fmla="*/ 165587 w 366436"/>
              <a:gd name="connsiteY12" fmla="*/ 305698 h 428233"/>
              <a:gd name="connsiteX13" fmla="*/ 217387 w 366436"/>
              <a:gd name="connsiteY13" fmla="*/ 403748 h 428233"/>
              <a:gd name="connsiteX14" fmla="*/ 256943 w 366436"/>
              <a:gd name="connsiteY14" fmla="*/ 428234 h 428233"/>
              <a:gd name="connsiteX15" fmla="*/ 256970 w 366436"/>
              <a:gd name="connsiteY15" fmla="*/ 428234 h 428233"/>
              <a:gd name="connsiteX16" fmla="*/ 291912 w 366436"/>
              <a:gd name="connsiteY16" fmla="*/ 404468 h 428233"/>
              <a:gd name="connsiteX17" fmla="*/ 352727 w 366436"/>
              <a:gd name="connsiteY17" fmla="*/ 234295 h 428233"/>
              <a:gd name="connsiteX18" fmla="*/ 366437 w 366436"/>
              <a:gd name="connsiteY18" fmla="*/ 100477 h 428233"/>
              <a:gd name="connsiteX19" fmla="*/ 363610 w 366436"/>
              <a:gd name="connsiteY19" fmla="*/ 50999 h 428233"/>
              <a:gd name="connsiteX20" fmla="*/ 109334 w 366436"/>
              <a:gd name="connsiteY20" fmla="*/ 341067 h 428233"/>
              <a:gd name="connsiteX21" fmla="*/ 100105 w 366436"/>
              <a:gd name="connsiteY21" fmla="*/ 342027 h 428233"/>
              <a:gd name="connsiteX22" fmla="*/ 44331 w 366436"/>
              <a:gd name="connsiteY22" fmla="*/ 294576 h 428233"/>
              <a:gd name="connsiteX23" fmla="*/ 43237 w 366436"/>
              <a:gd name="connsiteY23" fmla="*/ 282440 h 428233"/>
              <a:gd name="connsiteX24" fmla="*/ 82500 w 366436"/>
              <a:gd name="connsiteY24" fmla="*/ 226693 h 428233"/>
              <a:gd name="connsiteX25" fmla="*/ 95704 w 366436"/>
              <a:gd name="connsiteY25" fmla="*/ 224586 h 428233"/>
              <a:gd name="connsiteX26" fmla="*/ 158626 w 366436"/>
              <a:gd name="connsiteY26" fmla="*/ 288868 h 428233"/>
              <a:gd name="connsiteX27" fmla="*/ 109334 w 366436"/>
              <a:gd name="connsiteY27" fmla="*/ 341067 h 428233"/>
              <a:gd name="connsiteX28" fmla="*/ 320639 w 366436"/>
              <a:gd name="connsiteY28" fmla="*/ 273557 h 428233"/>
              <a:gd name="connsiteX29" fmla="*/ 274574 w 366436"/>
              <a:gd name="connsiteY29" fmla="*/ 303591 h 428233"/>
              <a:gd name="connsiteX30" fmla="*/ 271667 w 366436"/>
              <a:gd name="connsiteY30" fmla="*/ 303458 h 428233"/>
              <a:gd name="connsiteX31" fmla="*/ 199276 w 366436"/>
              <a:gd name="connsiteY31" fmla="*/ 235309 h 428233"/>
              <a:gd name="connsiteX32" fmla="*/ 236992 w 366436"/>
              <a:gd name="connsiteY32" fmla="*/ 160731 h 428233"/>
              <a:gd name="connsiteX33" fmla="*/ 267986 w 366436"/>
              <a:gd name="connsiteY33" fmla="*/ 126776 h 428233"/>
              <a:gd name="connsiteX34" fmla="*/ 293326 w 366436"/>
              <a:gd name="connsiteY34" fmla="*/ 115467 h 428233"/>
              <a:gd name="connsiteX35" fmla="*/ 307222 w 366436"/>
              <a:gd name="connsiteY35" fmla="*/ 115840 h 428233"/>
              <a:gd name="connsiteX36" fmla="*/ 332455 w 366436"/>
              <a:gd name="connsiteY36" fmla="*/ 134752 h 428233"/>
              <a:gd name="connsiteX37" fmla="*/ 344378 w 366436"/>
              <a:gd name="connsiteY37" fmla="*/ 178308 h 428233"/>
              <a:gd name="connsiteX38" fmla="*/ 320639 w 366436"/>
              <a:gd name="connsiteY38" fmla="*/ 273557 h 428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66436" h="428233">
                <a:moveTo>
                  <a:pt x="363610" y="50999"/>
                </a:moveTo>
                <a:cubicBezTo>
                  <a:pt x="361476" y="34808"/>
                  <a:pt x="357368" y="22192"/>
                  <a:pt x="351553" y="13496"/>
                </a:cubicBezTo>
                <a:cubicBezTo>
                  <a:pt x="345765" y="4801"/>
                  <a:pt x="338910" y="0"/>
                  <a:pt x="329254" y="0"/>
                </a:cubicBezTo>
                <a:cubicBezTo>
                  <a:pt x="315838" y="0"/>
                  <a:pt x="301274" y="9282"/>
                  <a:pt x="284257" y="32648"/>
                </a:cubicBezTo>
                <a:cubicBezTo>
                  <a:pt x="257023" y="70096"/>
                  <a:pt x="225122" y="138112"/>
                  <a:pt x="190527" y="220185"/>
                </a:cubicBezTo>
                <a:cubicBezTo>
                  <a:pt x="176604" y="197646"/>
                  <a:pt x="146329" y="164652"/>
                  <a:pt x="100825" y="164625"/>
                </a:cubicBezTo>
                <a:cubicBezTo>
                  <a:pt x="89595" y="164625"/>
                  <a:pt x="77592" y="166732"/>
                  <a:pt x="64896" y="171587"/>
                </a:cubicBezTo>
                <a:cubicBezTo>
                  <a:pt x="16271" y="190151"/>
                  <a:pt x="-27" y="235095"/>
                  <a:pt x="0" y="265342"/>
                </a:cubicBezTo>
                <a:cubicBezTo>
                  <a:pt x="0" y="316768"/>
                  <a:pt x="38943" y="359338"/>
                  <a:pt x="85781" y="360271"/>
                </a:cubicBezTo>
                <a:cubicBezTo>
                  <a:pt x="86288" y="360298"/>
                  <a:pt x="86795" y="360298"/>
                  <a:pt x="87302" y="360298"/>
                </a:cubicBezTo>
                <a:cubicBezTo>
                  <a:pt x="99971" y="360298"/>
                  <a:pt x="113975" y="356670"/>
                  <a:pt x="124991" y="350696"/>
                </a:cubicBezTo>
                <a:cubicBezTo>
                  <a:pt x="134727" y="345414"/>
                  <a:pt x="142942" y="338266"/>
                  <a:pt x="149317" y="330477"/>
                </a:cubicBezTo>
                <a:cubicBezTo>
                  <a:pt x="156892" y="321249"/>
                  <a:pt x="162147" y="312260"/>
                  <a:pt x="165587" y="305698"/>
                </a:cubicBezTo>
                <a:cubicBezTo>
                  <a:pt x="184712" y="351549"/>
                  <a:pt x="203383" y="386117"/>
                  <a:pt x="217387" y="403748"/>
                </a:cubicBezTo>
                <a:cubicBezTo>
                  <a:pt x="230030" y="419565"/>
                  <a:pt x="243553" y="428234"/>
                  <a:pt x="256943" y="428234"/>
                </a:cubicBezTo>
                <a:lnTo>
                  <a:pt x="256970" y="428234"/>
                </a:lnTo>
                <a:cubicBezTo>
                  <a:pt x="269640" y="428234"/>
                  <a:pt x="281696" y="420339"/>
                  <a:pt x="291912" y="404468"/>
                </a:cubicBezTo>
                <a:cubicBezTo>
                  <a:pt x="319679" y="361498"/>
                  <a:pt x="338857" y="296603"/>
                  <a:pt x="352727" y="234295"/>
                </a:cubicBezTo>
                <a:cubicBezTo>
                  <a:pt x="360916" y="197433"/>
                  <a:pt x="366437" y="145768"/>
                  <a:pt x="366437" y="100477"/>
                </a:cubicBezTo>
                <a:cubicBezTo>
                  <a:pt x="366410" y="82553"/>
                  <a:pt x="365530" y="65615"/>
                  <a:pt x="363610" y="50999"/>
                </a:cubicBezTo>
                <a:close/>
                <a:moveTo>
                  <a:pt x="109334" y="341067"/>
                </a:moveTo>
                <a:cubicBezTo>
                  <a:pt x="106426" y="341680"/>
                  <a:pt x="103332" y="342027"/>
                  <a:pt x="100105" y="342027"/>
                </a:cubicBezTo>
                <a:cubicBezTo>
                  <a:pt x="77859" y="342000"/>
                  <a:pt x="50226" y="326557"/>
                  <a:pt x="44331" y="294576"/>
                </a:cubicBezTo>
                <a:cubicBezTo>
                  <a:pt x="43611" y="290628"/>
                  <a:pt x="43237" y="286547"/>
                  <a:pt x="43237" y="282440"/>
                </a:cubicBezTo>
                <a:cubicBezTo>
                  <a:pt x="43264" y="259367"/>
                  <a:pt x="54974" y="235495"/>
                  <a:pt x="82500" y="226693"/>
                </a:cubicBezTo>
                <a:cubicBezTo>
                  <a:pt x="87008" y="225253"/>
                  <a:pt x="91409" y="224586"/>
                  <a:pt x="95704" y="224586"/>
                </a:cubicBezTo>
                <a:cubicBezTo>
                  <a:pt x="120936" y="224586"/>
                  <a:pt x="144249" y="249365"/>
                  <a:pt x="158626" y="288868"/>
                </a:cubicBezTo>
                <a:cubicBezTo>
                  <a:pt x="151531" y="305938"/>
                  <a:pt x="134540" y="335705"/>
                  <a:pt x="109334" y="341067"/>
                </a:cubicBezTo>
                <a:close/>
                <a:moveTo>
                  <a:pt x="320639" y="273557"/>
                </a:moveTo>
                <a:cubicBezTo>
                  <a:pt x="308076" y="292495"/>
                  <a:pt x="289591" y="303591"/>
                  <a:pt x="274574" y="303591"/>
                </a:cubicBezTo>
                <a:cubicBezTo>
                  <a:pt x="273614" y="303591"/>
                  <a:pt x="272654" y="303565"/>
                  <a:pt x="271667" y="303458"/>
                </a:cubicBezTo>
                <a:cubicBezTo>
                  <a:pt x="235605" y="300257"/>
                  <a:pt x="208585" y="251872"/>
                  <a:pt x="199276" y="235309"/>
                </a:cubicBezTo>
                <a:cubicBezTo>
                  <a:pt x="212959" y="201114"/>
                  <a:pt x="224162" y="179455"/>
                  <a:pt x="236992" y="160731"/>
                </a:cubicBezTo>
                <a:cubicBezTo>
                  <a:pt x="247874" y="144834"/>
                  <a:pt x="258517" y="133818"/>
                  <a:pt x="267986" y="126776"/>
                </a:cubicBezTo>
                <a:cubicBezTo>
                  <a:pt x="277135" y="119975"/>
                  <a:pt x="285564" y="116534"/>
                  <a:pt x="293326" y="115467"/>
                </a:cubicBezTo>
                <a:cubicBezTo>
                  <a:pt x="298367" y="114747"/>
                  <a:pt x="303035" y="114907"/>
                  <a:pt x="307222" y="115840"/>
                </a:cubicBezTo>
                <a:cubicBezTo>
                  <a:pt x="318105" y="118294"/>
                  <a:pt x="326800" y="126030"/>
                  <a:pt x="332455" y="134752"/>
                </a:cubicBezTo>
                <a:cubicBezTo>
                  <a:pt x="340190" y="146674"/>
                  <a:pt x="344378" y="162625"/>
                  <a:pt x="344378" y="178308"/>
                </a:cubicBezTo>
                <a:cubicBezTo>
                  <a:pt x="344405" y="220985"/>
                  <a:pt x="334349" y="252913"/>
                  <a:pt x="320639" y="273557"/>
                </a:cubicBezTo>
                <a:close/>
              </a:path>
            </a:pathLst>
          </a:custGeom>
          <a:solidFill>
            <a:schemeClr val="accent2"/>
          </a:solidFill>
          <a:ln w="6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073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47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3600" kern="1200" cap="none" normalizeH="0" baseline="0" smtClean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Segoe UI" panose="020B0502040204020203" pitchFamily="34" charset="0"/>
        <a:buChar char=" "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8163" indent="-2682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png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vaudoise.ch/display/PRJ194/Dev+Onboarding" TargetMode="External"/><Relationship Id="rId2" Type="http://schemas.openxmlformats.org/officeDocument/2006/relationships/hyperlink" Target="https://wiki.vaudoise.ch/pages/viewpage.action?pageId=417758748" TargetMode="Externa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8EC18B-D300-F9C2-EBAC-7ADC06DA92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646" y="3125028"/>
            <a:ext cx="1502632" cy="230832"/>
          </a:xfrm>
        </p:spPr>
        <p:txBody>
          <a:bodyPr/>
          <a:lstStyle/>
          <a:p>
            <a:r>
              <a:rPr lang="fr-FR" dirty="0"/>
              <a:t>07.11.2022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3023BA-1E18-B789-FB35-73174352F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20" y="4396211"/>
            <a:ext cx="10515600" cy="757130"/>
          </a:xfrm>
        </p:spPr>
        <p:txBody>
          <a:bodyPr/>
          <a:lstStyle/>
          <a:p>
            <a:r>
              <a:rPr lang="en-US" dirty="0"/>
              <a:t>Dataspace DevO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23B86E-F58F-1CFC-A6A3-78B90A3A87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rchitecture &amp; Build</a:t>
            </a:r>
          </a:p>
        </p:txBody>
      </p:sp>
    </p:spTree>
    <p:extLst>
      <p:ext uri="{BB962C8B-B14F-4D97-AF65-F5344CB8AC3E}">
        <p14:creationId xmlns:p14="http://schemas.microsoft.com/office/powerpoint/2010/main" val="1929552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&amp; responsibiliti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esponsibilities</a:t>
            </a:r>
            <a:endParaRPr lang="en-CH" dirty="0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3D4148B3-66C7-79BD-3FCF-E3FC18ACEE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9988704"/>
              </p:ext>
            </p:extLst>
          </p:nvPr>
        </p:nvGraphicFramePr>
        <p:xfrm>
          <a:off x="490135" y="1353541"/>
          <a:ext cx="10980892" cy="4617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7210">
                  <a:extLst>
                    <a:ext uri="{9D8B030D-6E8A-4147-A177-3AD203B41FA5}">
                      <a16:colId xmlns:a16="http://schemas.microsoft.com/office/drawing/2014/main" val="4226997388"/>
                    </a:ext>
                  </a:extLst>
                </a:gridCol>
                <a:gridCol w="1036662">
                  <a:extLst>
                    <a:ext uri="{9D8B030D-6E8A-4147-A177-3AD203B41FA5}">
                      <a16:colId xmlns:a16="http://schemas.microsoft.com/office/drawing/2014/main" val="2007306276"/>
                    </a:ext>
                  </a:extLst>
                </a:gridCol>
                <a:gridCol w="1323079">
                  <a:extLst>
                    <a:ext uri="{9D8B030D-6E8A-4147-A177-3AD203B41FA5}">
                      <a16:colId xmlns:a16="http://schemas.microsoft.com/office/drawing/2014/main" val="1759918332"/>
                    </a:ext>
                  </a:extLst>
                </a:gridCol>
                <a:gridCol w="977177">
                  <a:extLst>
                    <a:ext uri="{9D8B030D-6E8A-4147-A177-3AD203B41FA5}">
                      <a16:colId xmlns:a16="http://schemas.microsoft.com/office/drawing/2014/main" val="3256064946"/>
                    </a:ext>
                  </a:extLst>
                </a:gridCol>
                <a:gridCol w="1086764">
                  <a:extLst>
                    <a:ext uri="{9D8B030D-6E8A-4147-A177-3AD203B41FA5}">
                      <a16:colId xmlns:a16="http://schemas.microsoft.com/office/drawing/2014/main" val="1909994633"/>
                    </a:ext>
                  </a:extLst>
                </a:gridCol>
              </a:tblGrid>
              <a:tr h="587587">
                <a:tc>
                  <a:txBody>
                    <a:bodyPr/>
                    <a:lstStyle/>
                    <a:p>
                      <a:r>
                        <a:rPr lang="en-US" dirty="0"/>
                        <a:t>Task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v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v Leader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ster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vOps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6263708"/>
                  </a:ext>
                </a:extLst>
              </a:tr>
              <a:tr h="433245">
                <a:tc>
                  <a:txBody>
                    <a:bodyPr/>
                    <a:lstStyle/>
                    <a:p>
                      <a:r>
                        <a:rPr lang="en-US" dirty="0"/>
                        <a:t>Source code organization, branch creation, pr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00421"/>
                  </a:ext>
                </a:extLst>
              </a:tr>
              <a:tr h="433245">
                <a:tc>
                  <a:txBody>
                    <a:bodyPr/>
                    <a:lstStyle/>
                    <a:p>
                      <a:r>
                        <a:rPr lang="en-US" dirty="0"/>
                        <a:t>Application deployment on DC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5815105"/>
                  </a:ext>
                </a:extLst>
              </a:tr>
              <a:tr h="433245">
                <a:tc>
                  <a:txBody>
                    <a:bodyPr/>
                    <a:lstStyle/>
                    <a:p>
                      <a:r>
                        <a:rPr lang="en-US" dirty="0"/>
                        <a:t>Application deployment on other </a:t>
                      </a:r>
                      <a:r>
                        <a:rPr lang="en-US" dirty="0" err="1"/>
                        <a:t>envs</a:t>
                      </a:r>
                      <a:r>
                        <a:rPr lang="en-US" dirty="0"/>
                        <a:t>: DTS, IAT, UAT, PPD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1394734"/>
                  </a:ext>
                </a:extLst>
              </a:tr>
              <a:tr h="433245">
                <a:tc>
                  <a:txBody>
                    <a:bodyPr/>
                    <a:lstStyle/>
                    <a:p>
                      <a:r>
                        <a:rPr lang="en-US" dirty="0"/>
                        <a:t>Application coding language choice and runtime dependencies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0949844"/>
                  </a:ext>
                </a:extLst>
              </a:tr>
              <a:tr h="415192">
                <a:tc>
                  <a:txBody>
                    <a:bodyPr/>
                    <a:lstStyle/>
                    <a:p>
                      <a:r>
                        <a:rPr lang="en-US" dirty="0"/>
                        <a:t>Unit Testing tooling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696937"/>
                  </a:ext>
                </a:extLst>
              </a:tr>
              <a:tr h="415192">
                <a:tc>
                  <a:txBody>
                    <a:bodyPr/>
                    <a:lstStyle/>
                    <a:p>
                      <a:r>
                        <a:rPr lang="en-US" dirty="0"/>
                        <a:t>Integration testing tooling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1520980"/>
                  </a:ext>
                </a:extLst>
              </a:tr>
              <a:tr h="415192">
                <a:tc>
                  <a:txBody>
                    <a:bodyPr/>
                    <a:lstStyle/>
                    <a:p>
                      <a:r>
                        <a:rPr lang="en-US" dirty="0"/>
                        <a:t>Continuous integration automation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2310163"/>
                  </a:ext>
                </a:extLst>
              </a:tr>
              <a:tr h="999121">
                <a:tc>
                  <a:txBody>
                    <a:bodyPr/>
                    <a:lstStyle/>
                    <a:p>
                      <a:r>
                        <a:rPr lang="en-US" dirty="0"/>
                        <a:t>Creation/manipulation of Azure infrastructure (ex: new </a:t>
                      </a:r>
                      <a:r>
                        <a:rPr lang="en-US" dirty="0" err="1"/>
                        <a:t>db</a:t>
                      </a:r>
                      <a:r>
                        <a:rPr lang="en-US" dirty="0"/>
                        <a:t>, event hub, storage account, access rights)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</a:t>
                      </a:r>
                      <a:endParaRPr lang="en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/R</a:t>
                      </a:r>
                      <a:endParaRPr lang="en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21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12165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A0EE7-4BA0-2F5F-E3BB-F9CF28CFB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evOps platform</a:t>
            </a:r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6AEB5-83DD-C703-0D07-0AF27DB564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E1BF679-C1E6-4F59-A2D5-EB1C7BD6D026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F3DF47-5AC8-CF63-5DB6-0FC2D12CB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CH" dirty="0"/>
          </a:p>
        </p:txBody>
      </p:sp>
      <p:pic>
        <p:nvPicPr>
          <p:cNvPr id="5122" name="Picture 2" descr="Azure DevOps: Not Just for Devs and Ops - Dusty Juhl">
            <a:extLst>
              <a:ext uri="{FF2B5EF4-FFF2-40B4-BE49-F238E27FC236}">
                <a16:creationId xmlns:a16="http://schemas.microsoft.com/office/drawing/2014/main" id="{5B00BD68-CF40-A42C-D7DA-F193DF771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84" y="1761281"/>
            <a:ext cx="5076648" cy="317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AFF3696-97AC-BEE9-BD31-AA46E2E728B6}"/>
              </a:ext>
            </a:extLst>
          </p:cNvPr>
          <p:cNvSpPr txBox="1"/>
          <p:nvPr/>
        </p:nvSpPr>
        <p:spPr>
          <a:xfrm>
            <a:off x="6223819" y="2025446"/>
            <a:ext cx="4820615" cy="16684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Source code in Azure DevOps repositorie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CI/CD pipelines in Azure pipeline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Maven artifacts in Azure artifacts</a:t>
            </a:r>
            <a:endParaRPr lang="en-C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1435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/CD Proces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DF722-B1B0-B1C2-921C-77CB2495EE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current CI/CD process on the sandbox env</a:t>
            </a:r>
            <a:endParaRPr lang="en-CH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B2F6F2-033B-E275-E1EA-1BA313F380D2}"/>
              </a:ext>
            </a:extLst>
          </p:cNvPr>
          <p:cNvGrpSpPr/>
          <p:nvPr/>
        </p:nvGrpSpPr>
        <p:grpSpPr>
          <a:xfrm>
            <a:off x="381000" y="3547516"/>
            <a:ext cx="5215148" cy="2532506"/>
            <a:chOff x="658762" y="2633116"/>
            <a:chExt cx="5215148" cy="2532506"/>
          </a:xfrm>
        </p:grpSpPr>
        <p:pic>
          <p:nvPicPr>
            <p:cNvPr id="3074" name="Picture 2" descr="Source code - Free files and folders icons">
              <a:extLst>
                <a:ext uri="{FF2B5EF4-FFF2-40B4-BE49-F238E27FC236}">
                  <a16:creationId xmlns:a16="http://schemas.microsoft.com/office/drawing/2014/main" id="{59D18D77-E6ED-5B5E-3A9A-D2368425EA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762" y="3244646"/>
              <a:ext cx="1678856" cy="167885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76" name="Picture 4" descr="How to Install and Run Docker on Jetson Nano?">
              <a:extLst>
                <a:ext uri="{FF2B5EF4-FFF2-40B4-BE49-F238E27FC236}">
                  <a16:creationId xmlns:a16="http://schemas.microsoft.com/office/drawing/2014/main" id="{E5472610-8FE5-3529-F526-3E596FBF8A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2800" y="3002525"/>
              <a:ext cx="2521110" cy="2163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CFCF5222-9049-D5B7-7E9A-6EC3980175D1}"/>
                </a:ext>
              </a:extLst>
            </p:cNvPr>
            <p:cNvSpPr/>
            <p:nvPr/>
          </p:nvSpPr>
          <p:spPr>
            <a:xfrm>
              <a:off x="2337617" y="3854245"/>
              <a:ext cx="1300317" cy="491613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E585DC5-C5FA-A2EC-DDCB-84011D1A950A}"/>
                </a:ext>
              </a:extLst>
            </p:cNvPr>
            <p:cNvSpPr txBox="1"/>
            <p:nvPr/>
          </p:nvSpPr>
          <p:spPr>
            <a:xfrm>
              <a:off x="1765075" y="2633116"/>
              <a:ext cx="221131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Build, Unit test, integration test, code quality &amp; coverage</a:t>
              </a:r>
              <a:endParaRPr lang="en-CH" dirty="0">
                <a:solidFill>
                  <a:schemeClr val="bg1"/>
                </a:solidFill>
              </a:endParaRPr>
            </a:p>
          </p:txBody>
        </p:sp>
      </p:grpSp>
      <p:pic>
        <p:nvPicPr>
          <p:cNvPr id="3078" name="Picture 6" descr="Manage and Secure your Azure Container Registry - sysadminas.eu">
            <a:extLst>
              <a:ext uri="{FF2B5EF4-FFF2-40B4-BE49-F238E27FC236}">
                <a16:creationId xmlns:a16="http://schemas.microsoft.com/office/drawing/2014/main" id="{71A15CF9-E137-F1A1-273C-56982F2A3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487" y="1614796"/>
            <a:ext cx="1804044" cy="947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91DFF81-A1CA-D2FF-6587-4FA6FFEAED1C}"/>
              </a:ext>
            </a:extLst>
          </p:cNvPr>
          <p:cNvSpPr/>
          <p:nvPr/>
        </p:nvSpPr>
        <p:spPr>
          <a:xfrm rot="19627169">
            <a:off x="3699433" y="2778252"/>
            <a:ext cx="1689044" cy="65131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63BF1A-6B70-5843-2F55-D8AAE85C1BB4}"/>
              </a:ext>
            </a:extLst>
          </p:cNvPr>
          <p:cNvSpPr txBox="1"/>
          <p:nvPr/>
        </p:nvSpPr>
        <p:spPr>
          <a:xfrm rot="19621322">
            <a:off x="3453222" y="2574832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sh image</a:t>
            </a:r>
            <a:endParaRPr lang="en-CH" dirty="0">
              <a:solidFill>
                <a:schemeClr val="bg1"/>
              </a:solidFill>
            </a:endParaRPr>
          </a:p>
        </p:txBody>
      </p:sp>
      <p:pic>
        <p:nvPicPr>
          <p:cNvPr id="3080" name="Picture 8" descr="Azure Container Apps - Visual Studio Marketplace">
            <a:extLst>
              <a:ext uri="{FF2B5EF4-FFF2-40B4-BE49-F238E27FC236}">
                <a16:creationId xmlns:a16="http://schemas.microsoft.com/office/drawing/2014/main" id="{1E15DD6E-567D-781D-2CA6-BB3B1DC5A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7673" y="4159045"/>
            <a:ext cx="1804289" cy="180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5FEA63-5FD6-D614-EA66-4C248F3D31DA}"/>
              </a:ext>
            </a:extLst>
          </p:cNvPr>
          <p:cNvSpPr txBox="1"/>
          <p:nvPr/>
        </p:nvSpPr>
        <p:spPr>
          <a:xfrm>
            <a:off x="8376334" y="3778349"/>
            <a:ext cx="2428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zure Container Apps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9381E5C-C0A4-5965-F900-58E6C6333995}"/>
              </a:ext>
            </a:extLst>
          </p:cNvPr>
          <p:cNvSpPr/>
          <p:nvPr/>
        </p:nvSpPr>
        <p:spPr>
          <a:xfrm rot="2633974">
            <a:off x="6652187" y="2866525"/>
            <a:ext cx="1689044" cy="65131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1362D3-6A86-7CCE-9336-764AD507774E}"/>
              </a:ext>
            </a:extLst>
          </p:cNvPr>
          <p:cNvSpPr txBox="1"/>
          <p:nvPr/>
        </p:nvSpPr>
        <p:spPr>
          <a:xfrm rot="2628127">
            <a:off x="7111295" y="2620463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ll image</a:t>
            </a:r>
            <a:endParaRPr lang="en-CH" dirty="0">
              <a:solidFill>
                <a:schemeClr val="bg1"/>
              </a:solidFill>
            </a:endParaRPr>
          </a:p>
        </p:txBody>
      </p:sp>
      <p:pic>
        <p:nvPicPr>
          <p:cNvPr id="3082" name="Picture 10" descr="Microsoft Azure&quot; Icon - Download for free – Iconduck">
            <a:extLst>
              <a:ext uri="{FF2B5EF4-FFF2-40B4-BE49-F238E27FC236}">
                <a16:creationId xmlns:a16="http://schemas.microsoft.com/office/drawing/2014/main" id="{38198ACD-99A6-0D19-522A-7F7F06CDA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3079" y="1397867"/>
            <a:ext cx="1365219" cy="83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A2FD3A8-1054-42A7-66CC-7DABB176AE27}"/>
              </a:ext>
            </a:extLst>
          </p:cNvPr>
          <p:cNvCxnSpPr>
            <a:stCxn id="14" idx="0"/>
          </p:cNvCxnSpPr>
          <p:nvPr/>
        </p:nvCxnSpPr>
        <p:spPr>
          <a:xfrm flipH="1" flipV="1">
            <a:off x="9590800" y="2222761"/>
            <a:ext cx="0" cy="1555588"/>
          </a:xfrm>
          <a:prstGeom prst="line">
            <a:avLst/>
          </a:prstGeom>
          <a:ln w="254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B5A9E54-B5E0-0769-E251-613BF91F5B9F}"/>
              </a:ext>
            </a:extLst>
          </p:cNvPr>
          <p:cNvSpPr txBox="1"/>
          <p:nvPr/>
        </p:nvSpPr>
        <p:spPr>
          <a:xfrm>
            <a:off x="9630643" y="2805129"/>
            <a:ext cx="12811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Public access</a:t>
            </a:r>
            <a:endParaRPr lang="en-CH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168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/CD Proces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DF722-B1B0-B1C2-921C-77CB2495EE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future CI/CD process on the DCI env</a:t>
            </a:r>
            <a:endParaRPr lang="en-CH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B2F6F2-033B-E275-E1EA-1BA313F380D2}"/>
              </a:ext>
            </a:extLst>
          </p:cNvPr>
          <p:cNvGrpSpPr/>
          <p:nvPr/>
        </p:nvGrpSpPr>
        <p:grpSpPr>
          <a:xfrm>
            <a:off x="381000" y="3210273"/>
            <a:ext cx="5215148" cy="2869749"/>
            <a:chOff x="658762" y="2295873"/>
            <a:chExt cx="5215148" cy="2869749"/>
          </a:xfrm>
        </p:grpSpPr>
        <p:pic>
          <p:nvPicPr>
            <p:cNvPr id="3074" name="Picture 2" descr="Source code - Free files and folders icons">
              <a:extLst>
                <a:ext uri="{FF2B5EF4-FFF2-40B4-BE49-F238E27FC236}">
                  <a16:creationId xmlns:a16="http://schemas.microsoft.com/office/drawing/2014/main" id="{59D18D77-E6ED-5B5E-3A9A-D2368425EA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762" y="3244646"/>
              <a:ext cx="1678856" cy="167885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76" name="Picture 4" descr="How to Install and Run Docker on Jetson Nano?">
              <a:extLst>
                <a:ext uri="{FF2B5EF4-FFF2-40B4-BE49-F238E27FC236}">
                  <a16:creationId xmlns:a16="http://schemas.microsoft.com/office/drawing/2014/main" id="{E5472610-8FE5-3529-F526-3E596FBF8A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2800" y="3002525"/>
              <a:ext cx="2521110" cy="2163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CFCF5222-9049-D5B7-7E9A-6EC3980175D1}"/>
                </a:ext>
              </a:extLst>
            </p:cNvPr>
            <p:cNvSpPr/>
            <p:nvPr/>
          </p:nvSpPr>
          <p:spPr>
            <a:xfrm>
              <a:off x="2337617" y="3854245"/>
              <a:ext cx="1300317" cy="491613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E585DC5-C5FA-A2EC-DDCB-84011D1A950A}"/>
                </a:ext>
              </a:extLst>
            </p:cNvPr>
            <p:cNvSpPr txBox="1"/>
            <p:nvPr/>
          </p:nvSpPr>
          <p:spPr>
            <a:xfrm>
              <a:off x="1807269" y="2295873"/>
              <a:ext cx="2211311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Build, Unit test, integration test, code quality &amp; coverage (enforced)</a:t>
              </a:r>
              <a:endParaRPr lang="en-CH" dirty="0">
                <a:solidFill>
                  <a:schemeClr val="bg1"/>
                </a:solidFill>
              </a:endParaRPr>
            </a:p>
          </p:txBody>
        </p:sp>
      </p:grpSp>
      <p:pic>
        <p:nvPicPr>
          <p:cNvPr id="3078" name="Picture 6" descr="Manage and Secure your Azure Container Registry - sysadminas.eu">
            <a:extLst>
              <a:ext uri="{FF2B5EF4-FFF2-40B4-BE49-F238E27FC236}">
                <a16:creationId xmlns:a16="http://schemas.microsoft.com/office/drawing/2014/main" id="{71A15CF9-E137-F1A1-273C-56982F2A3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487" y="1614796"/>
            <a:ext cx="1804044" cy="947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91DFF81-A1CA-D2FF-6587-4FA6FFEAED1C}"/>
              </a:ext>
            </a:extLst>
          </p:cNvPr>
          <p:cNvSpPr/>
          <p:nvPr/>
        </p:nvSpPr>
        <p:spPr>
          <a:xfrm rot="19627169">
            <a:off x="3699433" y="2778252"/>
            <a:ext cx="1689044" cy="65131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63BF1A-6B70-5843-2F55-D8AAE85C1BB4}"/>
              </a:ext>
            </a:extLst>
          </p:cNvPr>
          <p:cNvSpPr txBox="1"/>
          <p:nvPr/>
        </p:nvSpPr>
        <p:spPr>
          <a:xfrm rot="19621322">
            <a:off x="3453222" y="2574832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sh imag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5FEA63-5FD6-D614-EA66-4C248F3D31DA}"/>
              </a:ext>
            </a:extLst>
          </p:cNvPr>
          <p:cNvSpPr txBox="1"/>
          <p:nvPr/>
        </p:nvSpPr>
        <p:spPr>
          <a:xfrm>
            <a:off x="8376334" y="3778349"/>
            <a:ext cx="2826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zure Kubernetes servic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9381E5C-C0A4-5965-F900-58E6C6333995}"/>
              </a:ext>
            </a:extLst>
          </p:cNvPr>
          <p:cNvSpPr/>
          <p:nvPr/>
        </p:nvSpPr>
        <p:spPr>
          <a:xfrm rot="2633974">
            <a:off x="6652187" y="2866525"/>
            <a:ext cx="1689044" cy="651316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1362D3-6A86-7CCE-9336-764AD507774E}"/>
              </a:ext>
            </a:extLst>
          </p:cNvPr>
          <p:cNvSpPr txBox="1"/>
          <p:nvPr/>
        </p:nvSpPr>
        <p:spPr>
          <a:xfrm rot="2628127">
            <a:off x="7111295" y="2620463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ull image</a:t>
            </a:r>
            <a:endParaRPr lang="en-CH" dirty="0">
              <a:solidFill>
                <a:schemeClr val="bg1"/>
              </a:solidFill>
            </a:endParaRPr>
          </a:p>
        </p:txBody>
      </p:sp>
      <p:pic>
        <p:nvPicPr>
          <p:cNvPr id="4106" name="Picture 10" descr="Getting Start with Azure Kubernetes Service (AKS) – INFRAKLOUD.COM">
            <a:extLst>
              <a:ext uri="{FF2B5EF4-FFF2-40B4-BE49-F238E27FC236}">
                <a16:creationId xmlns:a16="http://schemas.microsoft.com/office/drawing/2014/main" id="{D9989356-4DB3-B6EF-2A6F-788F4EFAF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0251" y="3969087"/>
            <a:ext cx="1926363" cy="192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Microsoft Azure&quot; Icon - Download for free – Iconduck">
            <a:extLst>
              <a:ext uri="{FF2B5EF4-FFF2-40B4-BE49-F238E27FC236}">
                <a16:creationId xmlns:a16="http://schemas.microsoft.com/office/drawing/2014/main" id="{1CFD89BD-FC82-3B92-8AAB-F235C50702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3079" y="1397867"/>
            <a:ext cx="1365219" cy="83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7B904B-BE2D-5DA7-B58E-8614165D7F7A}"/>
              </a:ext>
            </a:extLst>
          </p:cNvPr>
          <p:cNvCxnSpPr/>
          <p:nvPr/>
        </p:nvCxnSpPr>
        <p:spPr>
          <a:xfrm flipH="1" flipV="1">
            <a:off x="9590800" y="2222761"/>
            <a:ext cx="0" cy="1555588"/>
          </a:xfrm>
          <a:prstGeom prst="line">
            <a:avLst/>
          </a:prstGeom>
          <a:ln w="254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1904F44-B304-3BCC-FB78-D54D8C42098B}"/>
              </a:ext>
            </a:extLst>
          </p:cNvPr>
          <p:cNvSpPr txBox="1"/>
          <p:nvPr/>
        </p:nvSpPr>
        <p:spPr>
          <a:xfrm>
            <a:off x="9630643" y="2805129"/>
            <a:ext cx="15392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No public access</a:t>
            </a:r>
            <a:endParaRPr lang="en-CH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946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control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6A7E07-61EA-2F1E-ECF6-02933A71EC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ADF722-B1B0-B1C2-921C-77CB2495EE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ABE325-F750-F335-D988-D43CD44FFE2A}"/>
              </a:ext>
            </a:extLst>
          </p:cNvPr>
          <p:cNvSpPr txBox="1"/>
          <p:nvPr/>
        </p:nvSpPr>
        <p:spPr>
          <a:xfrm>
            <a:off x="476668" y="1918291"/>
            <a:ext cx="562753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urrent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nit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tegration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ode Analysis with Sonar Cloud: bugs, code smells, vulnerabilities, code coverage (not yet enforced)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788152-3616-BCCB-C9ED-EE1F22BFCB5A}"/>
              </a:ext>
            </a:extLst>
          </p:cNvPr>
          <p:cNvSpPr txBox="1"/>
          <p:nvPr/>
        </p:nvSpPr>
        <p:spPr>
          <a:xfrm>
            <a:off x="6087800" y="1918291"/>
            <a:ext cx="56275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Future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mproved integration testing contr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nforced code analysis with Sonar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tandardized CI/CD pipelines (templat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erformance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tatic &amp; dynamic security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nfrastructure as cod (IAC) best practices &amp; vulnerabilities sc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38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ocumentation &amp; links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6A7E07-61EA-2F1E-ECF6-02933A71EC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fr-FR"/>
              <a:t>21/10/202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644A8A-6D0D-C0B5-89B5-3DB2A8536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98DE6B-7471-FFDB-7D63-AE7E1FEED35A}"/>
              </a:ext>
            </a:extLst>
          </p:cNvPr>
          <p:cNvSpPr txBox="1"/>
          <p:nvPr/>
        </p:nvSpPr>
        <p:spPr>
          <a:xfrm>
            <a:off x="771278" y="1970690"/>
            <a:ext cx="10761961" cy="1668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I/CD &amp; Environments: </a:t>
            </a:r>
            <a:r>
              <a:rPr lang="en-US" dirty="0">
                <a:solidFill>
                  <a:schemeClr val="bg1"/>
                </a:solidFill>
                <a:hlinkClick r:id="rId2"/>
              </a:rPr>
              <a:t>https://wiki.vaudoise.ch/pages/viewpage.action?pageId=417758748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boarding resources: </a:t>
            </a:r>
            <a:r>
              <a:rPr lang="en-US" dirty="0">
                <a:solidFill>
                  <a:schemeClr val="bg1"/>
                </a:solidFill>
                <a:hlinkClick r:id="rId3"/>
              </a:rPr>
              <a:t>https://wiki.vaudoise.ch/display/PRJ194/Dev+Onboarding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364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4F64AF-E75D-045E-D97C-01E519F50E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06CC03-6227-C017-BEDD-403885A0E5D9}"/>
              </a:ext>
            </a:extLst>
          </p:cNvPr>
          <p:cNvSpPr txBox="1"/>
          <p:nvPr/>
        </p:nvSpPr>
        <p:spPr>
          <a:xfrm>
            <a:off x="483726" y="1629633"/>
            <a:ext cx="5250155" cy="6117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What is DevOps?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Environment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Team &amp; responsibilitie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Current &amp; Future process in place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The DevOps platform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CI/CD processe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Quality control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>
                <a:solidFill>
                  <a:schemeClr val="bg1"/>
                </a:solidFill>
              </a:rPr>
              <a:t>Documentation &amp; Link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endParaRPr lang="en-US" sz="2400" dirty="0">
              <a:solidFill>
                <a:schemeClr val="bg1"/>
              </a:solidFill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endParaRPr lang="en-US" sz="2400" dirty="0">
              <a:solidFill>
                <a:schemeClr val="bg1"/>
              </a:solidFill>
            </a:endParaRPr>
          </a:p>
          <a:p>
            <a:pPr marL="457200" indent="-457200">
              <a:lnSpc>
                <a:spcPct val="150000"/>
              </a:lnSpc>
              <a:buAutoNum type="arabicPeriod"/>
            </a:pPr>
            <a:endParaRPr lang="en-CH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369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DevOp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4F64AF-E75D-045E-D97C-01E519F50E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1026" name="Picture 2" descr="orangematter.solarwinds.com/wp-content/uploads/...">
            <a:extLst>
              <a:ext uri="{FF2B5EF4-FFF2-40B4-BE49-F238E27FC236}">
                <a16:creationId xmlns:a16="http://schemas.microsoft.com/office/drawing/2014/main" id="{722DD3EE-9B2F-2AC4-F5A3-9A2FC00D7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3995" y="2288303"/>
            <a:ext cx="6201196" cy="3760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06CC03-6227-C017-BEDD-403885A0E5D9}"/>
              </a:ext>
            </a:extLst>
          </p:cNvPr>
          <p:cNvSpPr txBox="1"/>
          <p:nvPr/>
        </p:nvSpPr>
        <p:spPr>
          <a:xfrm>
            <a:off x="483726" y="1629633"/>
            <a:ext cx="112245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Is a methodology to improve work throughout the software development lifecycle </a:t>
            </a:r>
            <a:endParaRPr lang="en-CH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643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urrent Azure environment</a:t>
            </a:r>
            <a:endParaRPr lang="en-CH" dirty="0"/>
          </a:p>
        </p:txBody>
      </p:sp>
      <p:pic>
        <p:nvPicPr>
          <p:cNvPr id="2050" name="Picture 2" descr="How to Build a DIY Sandbox | Lowe's">
            <a:extLst>
              <a:ext uri="{FF2B5EF4-FFF2-40B4-BE49-F238E27FC236}">
                <a16:creationId xmlns:a16="http://schemas.microsoft.com/office/drawing/2014/main" id="{299B42B5-9E0E-02AF-3CBA-DA59613E16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0" y="2232320"/>
            <a:ext cx="6667500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586B79-56A2-15EC-255B-ABB9EA68DB45}"/>
              </a:ext>
            </a:extLst>
          </p:cNvPr>
          <p:cNvSpPr txBox="1"/>
          <p:nvPr/>
        </p:nvSpPr>
        <p:spPr>
          <a:xfrm>
            <a:off x="4725749" y="1769951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g-sandboxsia-poc-001</a:t>
            </a:r>
            <a:endParaRPr lang="en-C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304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uture Azure environments</a:t>
            </a:r>
            <a:endParaRPr lang="en-CH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8117FAC-56E6-4862-8496-AF320446F4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219" y="1347464"/>
            <a:ext cx="8033219" cy="479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5072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uture Azure environments</a:t>
            </a:r>
            <a:endParaRPr lang="en-CH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5E7890-9439-6E62-4C00-306375BC17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909" y="1625143"/>
            <a:ext cx="10435188" cy="4270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82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nvironment transition - DCI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9B2F6E-0F27-A11C-1ED6-D12CF58E3EA4}"/>
              </a:ext>
            </a:extLst>
          </p:cNvPr>
          <p:cNvSpPr txBox="1"/>
          <p:nvPr/>
        </p:nvSpPr>
        <p:spPr>
          <a:xfrm>
            <a:off x="707922" y="4838515"/>
            <a:ext cx="3807517" cy="1114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Infrastructure deployed on Az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 DevOps pipeline in plac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9F24D5-CBF6-FC6A-1CA9-E9FC6BC0E243}"/>
              </a:ext>
            </a:extLst>
          </p:cNvPr>
          <p:cNvSpPr txBox="1"/>
          <p:nvPr/>
        </p:nvSpPr>
        <p:spPr>
          <a:xfrm>
            <a:off x="6963171" y="4838515"/>
            <a:ext cx="4294765" cy="1114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x"/>
            </a:pPr>
            <a:r>
              <a:rPr lang="en-US" dirty="0">
                <a:solidFill>
                  <a:schemeClr val="bg1"/>
                </a:solidFill>
              </a:rPr>
              <a:t>Private network access to developer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x"/>
            </a:pPr>
            <a:r>
              <a:rPr lang="en-US" dirty="0">
                <a:solidFill>
                  <a:schemeClr val="bg1"/>
                </a:solidFill>
              </a:rPr>
              <a:t>Monitoring/Logging 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1019D8-4EF8-73B1-91C6-96688B79ED64}"/>
              </a:ext>
            </a:extLst>
          </p:cNvPr>
          <p:cNvSpPr txBox="1"/>
          <p:nvPr/>
        </p:nvSpPr>
        <p:spPr>
          <a:xfrm>
            <a:off x="4896465" y="4376398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ere we are:</a:t>
            </a:r>
            <a:endParaRPr lang="en-CH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034993-BA95-135E-BDA7-056C8357B272}"/>
              </a:ext>
            </a:extLst>
          </p:cNvPr>
          <p:cNvSpPr txBox="1"/>
          <p:nvPr/>
        </p:nvSpPr>
        <p:spPr>
          <a:xfrm>
            <a:off x="1193182" y="2055814"/>
            <a:ext cx="931056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DCI (Development continuous integration)</a:t>
            </a: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r>
              <a:rPr lang="en-US" sz="2000" b="1" dirty="0">
                <a:solidFill>
                  <a:schemeClr val="bg1"/>
                </a:solidFill>
              </a:rPr>
              <a:t>Is a developer environment that contains all developed features altogether </a:t>
            </a:r>
            <a:endParaRPr lang="en-CH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820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nvironment transition - IAT</a:t>
            </a:r>
            <a:endParaRPr lang="en-CH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9B2F6E-0F27-A11C-1ED6-D12CF58E3EA4}"/>
              </a:ext>
            </a:extLst>
          </p:cNvPr>
          <p:cNvSpPr txBox="1"/>
          <p:nvPr/>
        </p:nvSpPr>
        <p:spPr>
          <a:xfrm>
            <a:off x="782218" y="4906297"/>
            <a:ext cx="3807517" cy="1114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Infrastructure deployed on Azur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 DevOps pipeline in place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9F24D5-CBF6-FC6A-1CA9-E9FC6BC0E243}"/>
              </a:ext>
            </a:extLst>
          </p:cNvPr>
          <p:cNvSpPr txBox="1"/>
          <p:nvPr/>
        </p:nvSpPr>
        <p:spPr>
          <a:xfrm>
            <a:off x="7125957" y="5004083"/>
            <a:ext cx="3858749" cy="1114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x"/>
            </a:pPr>
            <a:r>
              <a:rPr lang="en-US" dirty="0">
                <a:solidFill>
                  <a:schemeClr val="bg1"/>
                </a:solidFill>
              </a:rPr>
              <a:t>Private network access to tester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x"/>
            </a:pPr>
            <a:r>
              <a:rPr lang="en-US" dirty="0">
                <a:solidFill>
                  <a:schemeClr val="bg1"/>
                </a:solidFill>
              </a:rPr>
              <a:t>Monitoring/Logging </a:t>
            </a:r>
            <a:endParaRPr lang="en-CH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8A66EA-7D80-3ECD-99FB-1513E434FE23}"/>
              </a:ext>
            </a:extLst>
          </p:cNvPr>
          <p:cNvSpPr txBox="1"/>
          <p:nvPr/>
        </p:nvSpPr>
        <p:spPr>
          <a:xfrm>
            <a:off x="4983247" y="4536965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ere we are:</a:t>
            </a:r>
            <a:endParaRPr lang="en-CH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2F923D-34B3-2F48-9D5E-776DCA12FBAC}"/>
              </a:ext>
            </a:extLst>
          </p:cNvPr>
          <p:cNvSpPr txBox="1"/>
          <p:nvPr/>
        </p:nvSpPr>
        <p:spPr>
          <a:xfrm>
            <a:off x="3234294" y="2059150"/>
            <a:ext cx="570701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IAT (Integration acceptance testing)</a:t>
            </a: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r>
              <a:rPr lang="en-US" sz="2000" b="1" dirty="0">
                <a:solidFill>
                  <a:schemeClr val="bg1"/>
                </a:solidFill>
              </a:rPr>
              <a:t>Is where other systems do integration testing</a:t>
            </a:r>
            <a:endParaRPr lang="en-CH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633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DD46FD-5941-461B-FB38-8619368E8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&amp; responsibiliti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5C7E770-66F2-5EF3-52C8-F48FAF55FF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eam</a:t>
            </a:r>
            <a:endParaRPr lang="en-CH" dirty="0"/>
          </a:p>
        </p:txBody>
      </p:sp>
      <p:pic>
        <p:nvPicPr>
          <p:cNvPr id="1028" name="Picture 4" descr="Developer - Free user icons">
            <a:extLst>
              <a:ext uri="{FF2B5EF4-FFF2-40B4-BE49-F238E27FC236}">
                <a16:creationId xmlns:a16="http://schemas.microsoft.com/office/drawing/2014/main" id="{F79CFF0F-A310-123E-737A-F66CE843F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94" y="1638677"/>
            <a:ext cx="951271" cy="951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84712B2-69E5-126B-F906-C0BF5C5E1154}"/>
              </a:ext>
            </a:extLst>
          </p:cNvPr>
          <p:cNvSpPr txBox="1"/>
          <p:nvPr/>
        </p:nvSpPr>
        <p:spPr>
          <a:xfrm>
            <a:off x="1750143" y="1744980"/>
            <a:ext cx="5887124" cy="4247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ev Leaders: S. Rousseau, H. Alves, J. Issartel</a:t>
            </a:r>
          </a:p>
          <a:p>
            <a:r>
              <a:rPr lang="en-US" dirty="0">
                <a:solidFill>
                  <a:schemeClr val="bg1"/>
                </a:solidFill>
              </a:rPr>
              <a:t>Devs: Catalina, Jonathan, Ahmed, Guy, Christophe, etc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DevOps: X. Klausener, S. Riquen (backup)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Testers: </a:t>
            </a:r>
            <a:r>
              <a:rPr lang="en-US" dirty="0" err="1">
                <a:solidFill>
                  <a:schemeClr val="bg1"/>
                </a:solidFill>
              </a:rPr>
              <a:t>Nirmann</a:t>
            </a:r>
            <a:r>
              <a:rPr lang="en-US" dirty="0">
                <a:solidFill>
                  <a:schemeClr val="bg1"/>
                </a:solidFill>
              </a:rPr>
              <a:t>, Nita</a:t>
            </a:r>
          </a:p>
          <a:p>
            <a:endParaRPr lang="en-CH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3A86810-40C2-7B22-5841-358B091B29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53" y="3240735"/>
            <a:ext cx="1118112" cy="1118112"/>
          </a:xfrm>
          <a:prstGeom prst="rect">
            <a:avLst/>
          </a:prstGeom>
        </p:spPr>
      </p:pic>
      <p:pic>
        <p:nvPicPr>
          <p:cNvPr id="1034" name="Picture 10" descr="testing team Icon - Free PNG &amp; SVG 2574374 - Noun Project">
            <a:extLst>
              <a:ext uri="{FF2B5EF4-FFF2-40B4-BE49-F238E27FC236}">
                <a16:creationId xmlns:a16="http://schemas.microsoft.com/office/drawing/2014/main" id="{C69D6B52-010D-B85E-FF9B-73D307E4D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54" y="4998292"/>
            <a:ext cx="1118112" cy="1118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011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1_Vaudoise">
  <a:themeElements>
    <a:clrScheme name="Vaudoise">
      <a:dk1>
        <a:srgbClr val="4A4A49"/>
      </a:dk1>
      <a:lt1>
        <a:srgbClr val="FFFFFF"/>
      </a:lt1>
      <a:dk2>
        <a:srgbClr val="A69A93"/>
      </a:dk2>
      <a:lt2>
        <a:srgbClr val="DADADA"/>
      </a:lt2>
      <a:accent1>
        <a:srgbClr val="00923E"/>
      </a:accent1>
      <a:accent2>
        <a:srgbClr val="007531"/>
      </a:accent2>
      <a:accent3>
        <a:srgbClr val="889239"/>
      </a:accent3>
      <a:accent4>
        <a:srgbClr val="88C69A"/>
      </a:accent4>
      <a:accent5>
        <a:srgbClr val="B4CD29"/>
      </a:accent5>
      <a:accent6>
        <a:srgbClr val="E0E483"/>
      </a:accent6>
      <a:hlink>
        <a:srgbClr val="DACEBA"/>
      </a:hlink>
      <a:folHlink>
        <a:srgbClr val="D6D0CC"/>
      </a:folHlink>
    </a:clrScheme>
    <a:fontScheme name="Vaudoise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Vert">
      <a:srgbClr val="00797B"/>
    </a:custClr>
    <a:custClr name="Violet">
      <a:srgbClr val="9E5098"/>
    </a:custClr>
    <a:custClr name="Bleu">
      <a:srgbClr val="00AEC8"/>
    </a:custClr>
    <a:custClr name="Jaune">
      <a:srgbClr val="FAE900"/>
    </a:custClr>
    <a:custClr name="Orange">
      <a:srgbClr val="F49400"/>
    </a:custClr>
    <a:custClr name="Rose">
      <a:srgbClr val="ED6B95"/>
    </a:custClr>
  </a:custClrLst>
  <a:extLst>
    <a:ext uri="{05A4C25C-085E-4340-85A3-A5531E510DB2}">
      <thm15:themeFamily xmlns:thm15="http://schemas.microsoft.com/office/thememl/2012/main" name="Masque groupe_F.pptx" id="{F91B5AE8-8355-4F2C-A472-3B7C3D865DD6}" vid="{08DD814D-AEE3-4171-8290-33EC9F97FD16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CB40921BD3544C83E946509BC08E29" ma:contentTypeVersion="5" ma:contentTypeDescription="Crée un document." ma:contentTypeScope="" ma:versionID="30d6fd2dc690c4eacb6c275580b0224d">
  <xsd:schema xmlns:xsd="http://www.w3.org/2001/XMLSchema" xmlns:xs="http://www.w3.org/2001/XMLSchema" xmlns:p="http://schemas.microsoft.com/office/2006/metadata/properties" xmlns:ns3="4da388c8-9b4a-450e-be78-39982864fba1" xmlns:ns4="315dc040-786a-41b8-b2e7-6826cd0fa65d" targetNamespace="http://schemas.microsoft.com/office/2006/metadata/properties" ma:root="true" ma:fieldsID="a2a30d442817a0879c1da37f0eb1c5c1" ns3:_="" ns4:_="">
    <xsd:import namespace="4da388c8-9b4a-450e-be78-39982864fba1"/>
    <xsd:import namespace="315dc040-786a-41b8-b2e7-6826cd0fa6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a388c8-9b4a-450e-be78-39982864fb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5dc040-786a-41b8-b2e7-6826cd0fa65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7BA4F4D-B2C4-4BCA-8FC5-ADCA8AAD9A16}">
  <ds:schemaRefs>
    <ds:schemaRef ds:uri="315dc040-786a-41b8-b2e7-6826cd0fa65d"/>
    <ds:schemaRef ds:uri="4da388c8-9b4a-450e-be78-39982864fb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38265F6-2036-44ED-B2A4-EE9E24454D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ABDBC4-99E5-411A-A80E-D5F747FA181A}">
  <ds:schemaRefs>
    <ds:schemaRef ds:uri="315dc040-786a-41b8-b2e7-6826cd0fa65d"/>
    <ds:schemaRef ds:uri="4da388c8-9b4a-450e-be78-39982864fba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4</TotalTime>
  <Words>519</Words>
  <Application>Microsoft Office PowerPoint</Application>
  <PresentationFormat>Widescreen</PresentationFormat>
  <Paragraphs>145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Georgia</vt:lpstr>
      <vt:lpstr>Segoe UI</vt:lpstr>
      <vt:lpstr>Segoe UI Semibold</vt:lpstr>
      <vt:lpstr>Tahoma</vt:lpstr>
      <vt:lpstr>Wingdings</vt:lpstr>
      <vt:lpstr>1_Vaudoise</vt:lpstr>
      <vt:lpstr>think-cell Slide</vt:lpstr>
      <vt:lpstr>Dataspace DevOps</vt:lpstr>
      <vt:lpstr>Summary</vt:lpstr>
      <vt:lpstr>What is DevOps?</vt:lpstr>
      <vt:lpstr>Environments</vt:lpstr>
      <vt:lpstr>Environments</vt:lpstr>
      <vt:lpstr>Environments</vt:lpstr>
      <vt:lpstr>Environments</vt:lpstr>
      <vt:lpstr>Environments</vt:lpstr>
      <vt:lpstr>Team &amp; responsibilities</vt:lpstr>
      <vt:lpstr>Team &amp; responsibilities</vt:lpstr>
      <vt:lpstr>The DevOps platform</vt:lpstr>
      <vt:lpstr>CI/CD Process</vt:lpstr>
      <vt:lpstr>CI/CD Process</vt:lpstr>
      <vt:lpstr>Quality controls</vt:lpstr>
      <vt:lpstr>Documentation &amp; li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uilleumier Daniel</dc:creator>
  <cp:lastModifiedBy>Xavier</cp:lastModifiedBy>
  <cp:revision>46</cp:revision>
  <cp:lastPrinted>2022-10-27T11:52:30Z</cp:lastPrinted>
  <dcterms:created xsi:type="dcterms:W3CDTF">2022-09-02T13:19:46Z</dcterms:created>
  <dcterms:modified xsi:type="dcterms:W3CDTF">2023-04-03T14:2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8176d29-7ac8-4938-8be0-f2afb2840a52_Enabled">
    <vt:lpwstr>true</vt:lpwstr>
  </property>
  <property fmtid="{D5CDD505-2E9C-101B-9397-08002B2CF9AE}" pid="3" name="MSIP_Label_38176d29-7ac8-4938-8be0-f2afb2840a52_SetDate">
    <vt:lpwstr>2022-09-02T13:19:50Z</vt:lpwstr>
  </property>
  <property fmtid="{D5CDD505-2E9C-101B-9397-08002B2CF9AE}" pid="4" name="MSIP_Label_38176d29-7ac8-4938-8be0-f2afb2840a52_Method">
    <vt:lpwstr>Standard</vt:lpwstr>
  </property>
  <property fmtid="{D5CDD505-2E9C-101B-9397-08002B2CF9AE}" pid="5" name="MSIP_Label_38176d29-7ac8-4938-8be0-f2afb2840a52_Name">
    <vt:lpwstr>Internal</vt:lpwstr>
  </property>
  <property fmtid="{D5CDD505-2E9C-101B-9397-08002B2CF9AE}" pid="6" name="MSIP_Label_38176d29-7ac8-4938-8be0-f2afb2840a52_SiteId">
    <vt:lpwstr>df111d67-4cb1-4119-9f05-4c52e5e0e150</vt:lpwstr>
  </property>
  <property fmtid="{D5CDD505-2E9C-101B-9397-08002B2CF9AE}" pid="7" name="MSIP_Label_38176d29-7ac8-4938-8be0-f2afb2840a52_ActionId">
    <vt:lpwstr>f86afbd8-a3ee-443c-a1fc-f608fc7dbeea</vt:lpwstr>
  </property>
  <property fmtid="{D5CDD505-2E9C-101B-9397-08002B2CF9AE}" pid="8" name="MSIP_Label_38176d29-7ac8-4938-8be0-f2afb2840a52_ContentBits">
    <vt:lpwstr>0</vt:lpwstr>
  </property>
  <property fmtid="{D5CDD505-2E9C-101B-9397-08002B2CF9AE}" pid="9" name="ContentTypeId">
    <vt:lpwstr>0x01010052CB40921BD3544C83E946509BC08E29</vt:lpwstr>
  </property>
</Properties>
</file>